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notesSlides/notesSlide2.xml" ContentType="application/vnd.openxmlformats-officedocument.presentationml.notesSlide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56" r:id="rId2"/>
    <p:sldId id="293" r:id="rId3"/>
    <p:sldId id="295" r:id="rId4"/>
    <p:sldId id="294" r:id="rId5"/>
    <p:sldId id="297" r:id="rId6"/>
    <p:sldId id="269" r:id="rId7"/>
    <p:sldId id="257" r:id="rId8"/>
    <p:sldId id="261" r:id="rId9"/>
    <p:sldId id="263" r:id="rId10"/>
    <p:sldId id="262" r:id="rId11"/>
    <p:sldId id="264" r:id="rId12"/>
    <p:sldId id="265" r:id="rId13"/>
    <p:sldId id="266" r:id="rId14"/>
    <p:sldId id="267" r:id="rId15"/>
    <p:sldId id="268" r:id="rId16"/>
    <p:sldId id="270" r:id="rId17"/>
    <p:sldId id="271" r:id="rId18"/>
    <p:sldId id="272" r:id="rId19"/>
    <p:sldId id="258" r:id="rId20"/>
    <p:sldId id="273" r:id="rId21"/>
    <p:sldId id="274" r:id="rId22"/>
    <p:sldId id="275" r:id="rId23"/>
    <p:sldId id="279" r:id="rId24"/>
    <p:sldId id="280" r:id="rId25"/>
    <p:sldId id="281" r:id="rId26"/>
    <p:sldId id="276" r:id="rId27"/>
    <p:sldId id="277" r:id="rId28"/>
    <p:sldId id="283" r:id="rId29"/>
    <p:sldId id="282" r:id="rId30"/>
    <p:sldId id="289" r:id="rId31"/>
    <p:sldId id="285" r:id="rId32"/>
    <p:sldId id="296" r:id="rId33"/>
    <p:sldId id="300" r:id="rId34"/>
    <p:sldId id="298" r:id="rId35"/>
    <p:sldId id="299" r:id="rId36"/>
  </p:sldIdLst>
  <p:sldSz cx="9144000" cy="6858000" type="screen4x3"/>
  <p:notesSz cx="6858000" cy="91440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368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B0B711-4E81-46B3-933B-E26047AE91C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B311FB6-2EF0-42CD-8E6A-2721E48B4919}">
      <dgm:prSet phldrT="[Texto]"/>
      <dgm:spPr/>
      <dgm:t>
        <a:bodyPr/>
        <a:lstStyle/>
        <a:p>
          <a:r>
            <a:rPr lang="es-MX" dirty="0" smtClean="0"/>
            <a:t>Gobierno Nacional</a:t>
          </a:r>
          <a:endParaRPr lang="es-CO" dirty="0"/>
        </a:p>
      </dgm:t>
    </dgm:pt>
    <dgm:pt modelId="{340CF0F0-32F7-4D76-A74B-56DBB4A708D2}" type="parTrans" cxnId="{0E3BE853-2BD4-472F-8023-355D57DF475D}">
      <dgm:prSet/>
      <dgm:spPr/>
      <dgm:t>
        <a:bodyPr/>
        <a:lstStyle/>
        <a:p>
          <a:endParaRPr lang="es-CO"/>
        </a:p>
      </dgm:t>
    </dgm:pt>
    <dgm:pt modelId="{AD1B0A4D-7FEC-4A93-AEF3-EF5F815342F5}" type="sibTrans" cxnId="{0E3BE853-2BD4-472F-8023-355D57DF475D}">
      <dgm:prSet/>
      <dgm:spPr/>
      <dgm:t>
        <a:bodyPr/>
        <a:lstStyle/>
        <a:p>
          <a:endParaRPr lang="es-CO"/>
        </a:p>
      </dgm:t>
    </dgm:pt>
    <dgm:pt modelId="{0245261F-479A-498C-81A0-39ACCDAF2493}">
      <dgm:prSet phldrT="[Texto]"/>
      <dgm:spPr/>
      <dgm:t>
        <a:bodyPr/>
        <a:lstStyle/>
        <a:p>
          <a:r>
            <a:rPr lang="es-MX" dirty="0" smtClean="0"/>
            <a:t>Ministerio de Energía</a:t>
          </a:r>
          <a:endParaRPr lang="es-CO" dirty="0"/>
        </a:p>
      </dgm:t>
    </dgm:pt>
    <dgm:pt modelId="{2524ED3E-98D5-4280-9996-F1547F11CC6A}" type="parTrans" cxnId="{01137729-3681-4B7B-8E76-EEB4EEB2F6EE}">
      <dgm:prSet/>
      <dgm:spPr/>
      <dgm:t>
        <a:bodyPr/>
        <a:lstStyle/>
        <a:p>
          <a:endParaRPr lang="es-CO"/>
        </a:p>
      </dgm:t>
    </dgm:pt>
    <dgm:pt modelId="{78598DF0-A974-496F-959A-7611EDF9C618}" type="sibTrans" cxnId="{01137729-3681-4B7B-8E76-EEB4EEB2F6EE}">
      <dgm:prSet/>
      <dgm:spPr/>
      <dgm:t>
        <a:bodyPr/>
        <a:lstStyle/>
        <a:p>
          <a:endParaRPr lang="es-CO"/>
        </a:p>
      </dgm:t>
    </dgm:pt>
    <dgm:pt modelId="{C8CC57C0-A28C-4AB1-A7B6-97F51169B61B}">
      <dgm:prSet/>
      <dgm:spPr/>
      <dgm:t>
        <a:bodyPr/>
        <a:lstStyle/>
        <a:p>
          <a:r>
            <a:rPr lang="es-MX" b="1" dirty="0" smtClean="0"/>
            <a:t>Autoridad de Regulación de Energía</a:t>
          </a:r>
          <a:endParaRPr lang="es-CO" b="1" dirty="0"/>
        </a:p>
      </dgm:t>
    </dgm:pt>
    <dgm:pt modelId="{1422E8CA-B041-4D45-B15E-05CB42393EE8}" type="parTrans" cxnId="{7C9A0244-1947-4A9C-ADD1-02B9289A7A08}">
      <dgm:prSet/>
      <dgm:spPr/>
      <dgm:t>
        <a:bodyPr/>
        <a:lstStyle/>
        <a:p>
          <a:endParaRPr lang="es-CO"/>
        </a:p>
      </dgm:t>
    </dgm:pt>
    <dgm:pt modelId="{E386F8AD-811B-4BE4-9646-65E2D0C58FF3}" type="sibTrans" cxnId="{7C9A0244-1947-4A9C-ADD1-02B9289A7A08}">
      <dgm:prSet/>
      <dgm:spPr/>
      <dgm:t>
        <a:bodyPr/>
        <a:lstStyle/>
        <a:p>
          <a:endParaRPr lang="es-CO"/>
        </a:p>
      </dgm:t>
    </dgm:pt>
    <dgm:pt modelId="{331F5040-F4FF-4E1A-A651-1F9EA763D630}">
      <dgm:prSet/>
      <dgm:spPr/>
      <dgm:t>
        <a:bodyPr/>
        <a:lstStyle/>
        <a:p>
          <a:r>
            <a:rPr lang="es-MX" dirty="0" smtClean="0"/>
            <a:t>Aprueba el Código de Red</a:t>
          </a:r>
          <a:endParaRPr lang="es-CO" dirty="0"/>
        </a:p>
      </dgm:t>
    </dgm:pt>
    <dgm:pt modelId="{36A391FB-94A3-421B-A78E-A3095B2DF14F}" type="parTrans" cxnId="{1FD74145-C564-4BA2-9231-B2C2A8F3B081}">
      <dgm:prSet/>
      <dgm:spPr/>
      <dgm:t>
        <a:bodyPr/>
        <a:lstStyle/>
        <a:p>
          <a:endParaRPr lang="es-CO"/>
        </a:p>
      </dgm:t>
    </dgm:pt>
    <dgm:pt modelId="{9153B360-1A1F-40EF-80A2-96C59714BC8C}" type="sibTrans" cxnId="{1FD74145-C564-4BA2-9231-B2C2A8F3B081}">
      <dgm:prSet/>
      <dgm:spPr/>
      <dgm:t>
        <a:bodyPr/>
        <a:lstStyle/>
        <a:p>
          <a:endParaRPr lang="es-CO"/>
        </a:p>
      </dgm:t>
    </dgm:pt>
    <dgm:pt modelId="{38C32D67-F075-43A5-9914-77632BEDCC96}" type="pres">
      <dgm:prSet presAssocID="{FCB0B711-4E81-46B3-933B-E26047AE91C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C90B4E9F-327B-4453-97EC-D7C5A271DC6B}" type="pres">
      <dgm:prSet presAssocID="{6B311FB6-2EF0-42CD-8E6A-2721E48B4919}" presName="hierRoot1" presStyleCnt="0">
        <dgm:presLayoutVars>
          <dgm:hierBranch val="init"/>
        </dgm:presLayoutVars>
      </dgm:prSet>
      <dgm:spPr/>
    </dgm:pt>
    <dgm:pt modelId="{B2405433-F526-42AD-80C5-D2E6569BC003}" type="pres">
      <dgm:prSet presAssocID="{6B311FB6-2EF0-42CD-8E6A-2721E48B4919}" presName="rootComposite1" presStyleCnt="0"/>
      <dgm:spPr/>
    </dgm:pt>
    <dgm:pt modelId="{0F38621C-8D55-471B-9F1E-D989ADE1658D}" type="pres">
      <dgm:prSet presAssocID="{6B311FB6-2EF0-42CD-8E6A-2721E48B491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5B367D1-B4C7-46C0-AFCD-23DC3E3D646D}" type="pres">
      <dgm:prSet presAssocID="{6B311FB6-2EF0-42CD-8E6A-2721E48B491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9BF68A41-34C2-43C3-ABFE-34F49CF1A412}" type="pres">
      <dgm:prSet presAssocID="{6B311FB6-2EF0-42CD-8E6A-2721E48B4919}" presName="hierChild2" presStyleCnt="0"/>
      <dgm:spPr/>
    </dgm:pt>
    <dgm:pt modelId="{19493E0C-3FC1-48D7-8262-C30EEB4131D1}" type="pres">
      <dgm:prSet presAssocID="{2524ED3E-98D5-4280-9996-F1547F11CC6A}" presName="Name37" presStyleLbl="parChTrans1D2" presStyleIdx="0" presStyleCnt="1"/>
      <dgm:spPr/>
      <dgm:t>
        <a:bodyPr/>
        <a:lstStyle/>
        <a:p>
          <a:endParaRPr lang="es-CO"/>
        </a:p>
      </dgm:t>
    </dgm:pt>
    <dgm:pt modelId="{D56C3F74-F11E-4422-9198-8C101126B9CD}" type="pres">
      <dgm:prSet presAssocID="{0245261F-479A-498C-81A0-39ACCDAF2493}" presName="hierRoot2" presStyleCnt="0">
        <dgm:presLayoutVars>
          <dgm:hierBranch/>
        </dgm:presLayoutVars>
      </dgm:prSet>
      <dgm:spPr/>
    </dgm:pt>
    <dgm:pt modelId="{85256B29-BC73-497E-ACD7-C5A29A5ED38B}" type="pres">
      <dgm:prSet presAssocID="{0245261F-479A-498C-81A0-39ACCDAF2493}" presName="rootComposite" presStyleCnt="0"/>
      <dgm:spPr/>
    </dgm:pt>
    <dgm:pt modelId="{CE671201-8CD8-4C39-88DE-325AEF042F9E}" type="pres">
      <dgm:prSet presAssocID="{0245261F-479A-498C-81A0-39ACCDAF2493}" presName="rootText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0AB459A-BCB4-43F5-819F-2BBE59215260}" type="pres">
      <dgm:prSet presAssocID="{0245261F-479A-498C-81A0-39ACCDAF2493}" presName="rootConnector" presStyleLbl="node2" presStyleIdx="0" presStyleCnt="1"/>
      <dgm:spPr/>
      <dgm:t>
        <a:bodyPr/>
        <a:lstStyle/>
        <a:p>
          <a:endParaRPr lang="es-CO"/>
        </a:p>
      </dgm:t>
    </dgm:pt>
    <dgm:pt modelId="{F9CABF1B-9945-4CCC-B3E1-A85E15D5AB34}" type="pres">
      <dgm:prSet presAssocID="{0245261F-479A-498C-81A0-39ACCDAF2493}" presName="hierChild4" presStyleCnt="0"/>
      <dgm:spPr/>
    </dgm:pt>
    <dgm:pt modelId="{C283ED2B-2F9D-4632-9D98-C8FC54E5CA7A}" type="pres">
      <dgm:prSet presAssocID="{1422E8CA-B041-4D45-B15E-05CB42393EE8}" presName="Name35" presStyleLbl="parChTrans1D3" presStyleIdx="0" presStyleCnt="1"/>
      <dgm:spPr/>
      <dgm:t>
        <a:bodyPr/>
        <a:lstStyle/>
        <a:p>
          <a:endParaRPr lang="es-CO"/>
        </a:p>
      </dgm:t>
    </dgm:pt>
    <dgm:pt modelId="{83C690A3-3195-4060-B148-51E9B13C7A15}" type="pres">
      <dgm:prSet presAssocID="{C8CC57C0-A28C-4AB1-A7B6-97F51169B61B}" presName="hierRoot2" presStyleCnt="0">
        <dgm:presLayoutVars>
          <dgm:hierBranch val="init"/>
        </dgm:presLayoutVars>
      </dgm:prSet>
      <dgm:spPr/>
    </dgm:pt>
    <dgm:pt modelId="{E7C21C88-1181-4CA7-82F5-7A641FAFE34F}" type="pres">
      <dgm:prSet presAssocID="{C8CC57C0-A28C-4AB1-A7B6-97F51169B61B}" presName="rootComposite" presStyleCnt="0"/>
      <dgm:spPr/>
    </dgm:pt>
    <dgm:pt modelId="{660C3117-ECAD-486C-8984-C9D075EC5373}" type="pres">
      <dgm:prSet presAssocID="{C8CC57C0-A28C-4AB1-A7B6-97F51169B61B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3B6CB28-3A62-490C-B894-1AB4D415C371}" type="pres">
      <dgm:prSet presAssocID="{C8CC57C0-A28C-4AB1-A7B6-97F51169B61B}" presName="rootConnector" presStyleLbl="node3" presStyleIdx="0" presStyleCnt="1"/>
      <dgm:spPr/>
      <dgm:t>
        <a:bodyPr/>
        <a:lstStyle/>
        <a:p>
          <a:endParaRPr lang="es-CO"/>
        </a:p>
      </dgm:t>
    </dgm:pt>
    <dgm:pt modelId="{A22F1229-4540-4354-B7EA-C90EB29328FD}" type="pres">
      <dgm:prSet presAssocID="{C8CC57C0-A28C-4AB1-A7B6-97F51169B61B}" presName="hierChild4" presStyleCnt="0"/>
      <dgm:spPr/>
    </dgm:pt>
    <dgm:pt modelId="{5B633D37-8164-45BC-B301-58D48A17A8D6}" type="pres">
      <dgm:prSet presAssocID="{36A391FB-94A3-421B-A78E-A3095B2DF14F}" presName="Name37" presStyleLbl="parChTrans1D4" presStyleIdx="0" presStyleCnt="1"/>
      <dgm:spPr/>
      <dgm:t>
        <a:bodyPr/>
        <a:lstStyle/>
        <a:p>
          <a:endParaRPr lang="es-CO"/>
        </a:p>
      </dgm:t>
    </dgm:pt>
    <dgm:pt modelId="{0E38470C-1483-4BB5-940C-1F1CCE2A17E9}" type="pres">
      <dgm:prSet presAssocID="{331F5040-F4FF-4E1A-A651-1F9EA763D630}" presName="hierRoot2" presStyleCnt="0">
        <dgm:presLayoutVars>
          <dgm:hierBranch val="init"/>
        </dgm:presLayoutVars>
      </dgm:prSet>
      <dgm:spPr/>
    </dgm:pt>
    <dgm:pt modelId="{F6E73870-2D34-4399-BC1E-CF28413B3F7F}" type="pres">
      <dgm:prSet presAssocID="{331F5040-F4FF-4E1A-A651-1F9EA763D630}" presName="rootComposite" presStyleCnt="0"/>
      <dgm:spPr/>
    </dgm:pt>
    <dgm:pt modelId="{1C3E4DE7-9863-4F5A-ACE7-1EF49E6C3EB3}" type="pres">
      <dgm:prSet presAssocID="{331F5040-F4FF-4E1A-A651-1F9EA763D630}" presName="rootText" presStyleLbl="node4" presStyleIdx="0" presStyleCnt="1" custScaleY="10482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99C6A04-AE1E-4727-9A04-D39FDCE883B7}" type="pres">
      <dgm:prSet presAssocID="{331F5040-F4FF-4E1A-A651-1F9EA763D630}" presName="rootConnector" presStyleLbl="node4" presStyleIdx="0" presStyleCnt="1"/>
      <dgm:spPr/>
      <dgm:t>
        <a:bodyPr/>
        <a:lstStyle/>
        <a:p>
          <a:endParaRPr lang="es-CO"/>
        </a:p>
      </dgm:t>
    </dgm:pt>
    <dgm:pt modelId="{200572BA-6C07-459A-8BFA-38C01EE4DFE5}" type="pres">
      <dgm:prSet presAssocID="{331F5040-F4FF-4E1A-A651-1F9EA763D630}" presName="hierChild4" presStyleCnt="0"/>
      <dgm:spPr/>
    </dgm:pt>
    <dgm:pt modelId="{503DE3AF-45F3-4D9B-AA8C-6E1A289BFEA0}" type="pres">
      <dgm:prSet presAssocID="{331F5040-F4FF-4E1A-A651-1F9EA763D630}" presName="hierChild5" presStyleCnt="0"/>
      <dgm:spPr/>
    </dgm:pt>
    <dgm:pt modelId="{1E34BF38-3808-4CA0-B428-50B00393EA36}" type="pres">
      <dgm:prSet presAssocID="{C8CC57C0-A28C-4AB1-A7B6-97F51169B61B}" presName="hierChild5" presStyleCnt="0"/>
      <dgm:spPr/>
    </dgm:pt>
    <dgm:pt modelId="{B18BD3D6-522C-4CE0-8AE9-C0CE50701B33}" type="pres">
      <dgm:prSet presAssocID="{0245261F-479A-498C-81A0-39ACCDAF2493}" presName="hierChild5" presStyleCnt="0"/>
      <dgm:spPr/>
    </dgm:pt>
    <dgm:pt modelId="{49F63E9F-FCAA-4367-A577-CD038444C58B}" type="pres">
      <dgm:prSet presAssocID="{6B311FB6-2EF0-42CD-8E6A-2721E48B4919}" presName="hierChild3" presStyleCnt="0"/>
      <dgm:spPr/>
    </dgm:pt>
  </dgm:ptLst>
  <dgm:cxnLst>
    <dgm:cxn modelId="{8EE35EF4-A240-497B-8B88-92C749D1801E}" type="presOf" srcId="{6B311FB6-2EF0-42CD-8E6A-2721E48B4919}" destId="{0F38621C-8D55-471B-9F1E-D989ADE1658D}" srcOrd="0" destOrd="0" presId="urn:microsoft.com/office/officeart/2005/8/layout/orgChart1"/>
    <dgm:cxn modelId="{01137729-3681-4B7B-8E76-EEB4EEB2F6EE}" srcId="{6B311FB6-2EF0-42CD-8E6A-2721E48B4919}" destId="{0245261F-479A-498C-81A0-39ACCDAF2493}" srcOrd="0" destOrd="0" parTransId="{2524ED3E-98D5-4280-9996-F1547F11CC6A}" sibTransId="{78598DF0-A974-496F-959A-7611EDF9C618}"/>
    <dgm:cxn modelId="{0685B88F-E032-4ACB-921D-7A415BA4F92A}" type="presOf" srcId="{6B311FB6-2EF0-42CD-8E6A-2721E48B4919}" destId="{65B367D1-B4C7-46C0-AFCD-23DC3E3D646D}" srcOrd="1" destOrd="0" presId="urn:microsoft.com/office/officeart/2005/8/layout/orgChart1"/>
    <dgm:cxn modelId="{0E3BE853-2BD4-472F-8023-355D57DF475D}" srcId="{FCB0B711-4E81-46B3-933B-E26047AE91CC}" destId="{6B311FB6-2EF0-42CD-8E6A-2721E48B4919}" srcOrd="0" destOrd="0" parTransId="{340CF0F0-32F7-4D76-A74B-56DBB4A708D2}" sibTransId="{AD1B0A4D-7FEC-4A93-AEF3-EF5F815342F5}"/>
    <dgm:cxn modelId="{ED1742E1-87BC-4B4E-9AB7-81FE28BF287F}" type="presOf" srcId="{331F5040-F4FF-4E1A-A651-1F9EA763D630}" destId="{E99C6A04-AE1E-4727-9A04-D39FDCE883B7}" srcOrd="1" destOrd="0" presId="urn:microsoft.com/office/officeart/2005/8/layout/orgChart1"/>
    <dgm:cxn modelId="{B346EF09-2A71-405E-9FFB-96CDFD60FC57}" type="presOf" srcId="{FCB0B711-4E81-46B3-933B-E26047AE91CC}" destId="{38C32D67-F075-43A5-9914-77632BEDCC96}" srcOrd="0" destOrd="0" presId="urn:microsoft.com/office/officeart/2005/8/layout/orgChart1"/>
    <dgm:cxn modelId="{C5B5B1E9-7178-4157-A10A-14228B5B961C}" type="presOf" srcId="{0245261F-479A-498C-81A0-39ACCDAF2493}" destId="{CE671201-8CD8-4C39-88DE-325AEF042F9E}" srcOrd="0" destOrd="0" presId="urn:microsoft.com/office/officeart/2005/8/layout/orgChart1"/>
    <dgm:cxn modelId="{AE801B0A-09BD-4EFD-A42F-89D4019A47B5}" type="presOf" srcId="{331F5040-F4FF-4E1A-A651-1F9EA763D630}" destId="{1C3E4DE7-9863-4F5A-ACE7-1EF49E6C3EB3}" srcOrd="0" destOrd="0" presId="urn:microsoft.com/office/officeart/2005/8/layout/orgChart1"/>
    <dgm:cxn modelId="{09A9449E-C7D3-44DB-9B61-940BBB3CC2F5}" type="presOf" srcId="{0245261F-479A-498C-81A0-39ACCDAF2493}" destId="{E0AB459A-BCB4-43F5-819F-2BBE59215260}" srcOrd="1" destOrd="0" presId="urn:microsoft.com/office/officeart/2005/8/layout/orgChart1"/>
    <dgm:cxn modelId="{41167F98-1254-4AC8-A7DD-0DCCC782A354}" type="presOf" srcId="{2524ED3E-98D5-4280-9996-F1547F11CC6A}" destId="{19493E0C-3FC1-48D7-8262-C30EEB4131D1}" srcOrd="0" destOrd="0" presId="urn:microsoft.com/office/officeart/2005/8/layout/orgChart1"/>
    <dgm:cxn modelId="{FDAE69EC-C6BC-4559-95D7-0B0EFF3DDFD4}" type="presOf" srcId="{C8CC57C0-A28C-4AB1-A7B6-97F51169B61B}" destId="{660C3117-ECAD-486C-8984-C9D075EC5373}" srcOrd="0" destOrd="0" presId="urn:microsoft.com/office/officeart/2005/8/layout/orgChart1"/>
    <dgm:cxn modelId="{7C9A0244-1947-4A9C-ADD1-02B9289A7A08}" srcId="{0245261F-479A-498C-81A0-39ACCDAF2493}" destId="{C8CC57C0-A28C-4AB1-A7B6-97F51169B61B}" srcOrd="0" destOrd="0" parTransId="{1422E8CA-B041-4D45-B15E-05CB42393EE8}" sibTransId="{E386F8AD-811B-4BE4-9646-65E2D0C58FF3}"/>
    <dgm:cxn modelId="{1FD74145-C564-4BA2-9231-B2C2A8F3B081}" srcId="{C8CC57C0-A28C-4AB1-A7B6-97F51169B61B}" destId="{331F5040-F4FF-4E1A-A651-1F9EA763D630}" srcOrd="0" destOrd="0" parTransId="{36A391FB-94A3-421B-A78E-A3095B2DF14F}" sibTransId="{9153B360-1A1F-40EF-80A2-96C59714BC8C}"/>
    <dgm:cxn modelId="{2CC70954-CC63-492A-97E4-3C6D5D50263E}" type="presOf" srcId="{C8CC57C0-A28C-4AB1-A7B6-97F51169B61B}" destId="{33B6CB28-3A62-490C-B894-1AB4D415C371}" srcOrd="1" destOrd="0" presId="urn:microsoft.com/office/officeart/2005/8/layout/orgChart1"/>
    <dgm:cxn modelId="{380842F5-F8D7-41AF-8FF4-3BE6927753FE}" type="presOf" srcId="{1422E8CA-B041-4D45-B15E-05CB42393EE8}" destId="{C283ED2B-2F9D-4632-9D98-C8FC54E5CA7A}" srcOrd="0" destOrd="0" presId="urn:microsoft.com/office/officeart/2005/8/layout/orgChart1"/>
    <dgm:cxn modelId="{0D9F6BC5-14A5-418A-AC53-668A227054EF}" type="presOf" srcId="{36A391FB-94A3-421B-A78E-A3095B2DF14F}" destId="{5B633D37-8164-45BC-B301-58D48A17A8D6}" srcOrd="0" destOrd="0" presId="urn:microsoft.com/office/officeart/2005/8/layout/orgChart1"/>
    <dgm:cxn modelId="{351A9E98-58C6-41D3-AF6E-49146607BD24}" type="presParOf" srcId="{38C32D67-F075-43A5-9914-77632BEDCC96}" destId="{C90B4E9F-327B-4453-97EC-D7C5A271DC6B}" srcOrd="0" destOrd="0" presId="urn:microsoft.com/office/officeart/2005/8/layout/orgChart1"/>
    <dgm:cxn modelId="{AEC7E9FD-66FB-4780-99B5-5C9A003C3662}" type="presParOf" srcId="{C90B4E9F-327B-4453-97EC-D7C5A271DC6B}" destId="{B2405433-F526-42AD-80C5-D2E6569BC003}" srcOrd="0" destOrd="0" presId="urn:microsoft.com/office/officeart/2005/8/layout/orgChart1"/>
    <dgm:cxn modelId="{B9E9AF4A-E5C6-4DE2-B907-6E66BE743007}" type="presParOf" srcId="{B2405433-F526-42AD-80C5-D2E6569BC003}" destId="{0F38621C-8D55-471B-9F1E-D989ADE1658D}" srcOrd="0" destOrd="0" presId="urn:microsoft.com/office/officeart/2005/8/layout/orgChart1"/>
    <dgm:cxn modelId="{D7AC5D72-7E87-4A1E-8B6A-2C7CE97A20EF}" type="presParOf" srcId="{B2405433-F526-42AD-80C5-D2E6569BC003}" destId="{65B367D1-B4C7-46C0-AFCD-23DC3E3D646D}" srcOrd="1" destOrd="0" presId="urn:microsoft.com/office/officeart/2005/8/layout/orgChart1"/>
    <dgm:cxn modelId="{568DD323-1E63-42EE-9FE9-8DAD8EA0163B}" type="presParOf" srcId="{C90B4E9F-327B-4453-97EC-D7C5A271DC6B}" destId="{9BF68A41-34C2-43C3-ABFE-34F49CF1A412}" srcOrd="1" destOrd="0" presId="urn:microsoft.com/office/officeart/2005/8/layout/orgChart1"/>
    <dgm:cxn modelId="{A9642A92-10F6-4399-9191-39539326E11A}" type="presParOf" srcId="{9BF68A41-34C2-43C3-ABFE-34F49CF1A412}" destId="{19493E0C-3FC1-48D7-8262-C30EEB4131D1}" srcOrd="0" destOrd="0" presId="urn:microsoft.com/office/officeart/2005/8/layout/orgChart1"/>
    <dgm:cxn modelId="{3577DA9B-928B-4C36-8964-5A8DE0CFA5CB}" type="presParOf" srcId="{9BF68A41-34C2-43C3-ABFE-34F49CF1A412}" destId="{D56C3F74-F11E-4422-9198-8C101126B9CD}" srcOrd="1" destOrd="0" presId="urn:microsoft.com/office/officeart/2005/8/layout/orgChart1"/>
    <dgm:cxn modelId="{7BCA3595-255F-4BD1-8568-AAB1685EC968}" type="presParOf" srcId="{D56C3F74-F11E-4422-9198-8C101126B9CD}" destId="{85256B29-BC73-497E-ACD7-C5A29A5ED38B}" srcOrd="0" destOrd="0" presId="urn:microsoft.com/office/officeart/2005/8/layout/orgChart1"/>
    <dgm:cxn modelId="{C91D4F84-7593-44AE-8C50-22A1C96DF1D2}" type="presParOf" srcId="{85256B29-BC73-497E-ACD7-C5A29A5ED38B}" destId="{CE671201-8CD8-4C39-88DE-325AEF042F9E}" srcOrd="0" destOrd="0" presId="urn:microsoft.com/office/officeart/2005/8/layout/orgChart1"/>
    <dgm:cxn modelId="{E54A953C-7854-4C46-BC59-D85783E5B28B}" type="presParOf" srcId="{85256B29-BC73-497E-ACD7-C5A29A5ED38B}" destId="{E0AB459A-BCB4-43F5-819F-2BBE59215260}" srcOrd="1" destOrd="0" presId="urn:microsoft.com/office/officeart/2005/8/layout/orgChart1"/>
    <dgm:cxn modelId="{019B2F11-ADDC-48ED-8B63-EABAAD38395B}" type="presParOf" srcId="{D56C3F74-F11E-4422-9198-8C101126B9CD}" destId="{F9CABF1B-9945-4CCC-B3E1-A85E15D5AB34}" srcOrd="1" destOrd="0" presId="urn:microsoft.com/office/officeart/2005/8/layout/orgChart1"/>
    <dgm:cxn modelId="{BC8575FD-A34C-4079-8577-2E3513EEA2E7}" type="presParOf" srcId="{F9CABF1B-9945-4CCC-B3E1-A85E15D5AB34}" destId="{C283ED2B-2F9D-4632-9D98-C8FC54E5CA7A}" srcOrd="0" destOrd="0" presId="urn:microsoft.com/office/officeart/2005/8/layout/orgChart1"/>
    <dgm:cxn modelId="{76CD7E85-2F77-4A9E-801D-D574DFAEB8F2}" type="presParOf" srcId="{F9CABF1B-9945-4CCC-B3E1-A85E15D5AB34}" destId="{83C690A3-3195-4060-B148-51E9B13C7A15}" srcOrd="1" destOrd="0" presId="urn:microsoft.com/office/officeart/2005/8/layout/orgChart1"/>
    <dgm:cxn modelId="{808EB3AF-B5CE-4D5F-9353-DB4183F33885}" type="presParOf" srcId="{83C690A3-3195-4060-B148-51E9B13C7A15}" destId="{E7C21C88-1181-4CA7-82F5-7A641FAFE34F}" srcOrd="0" destOrd="0" presId="urn:microsoft.com/office/officeart/2005/8/layout/orgChart1"/>
    <dgm:cxn modelId="{092A6BD7-7E35-464B-BEBA-29B5964114C0}" type="presParOf" srcId="{E7C21C88-1181-4CA7-82F5-7A641FAFE34F}" destId="{660C3117-ECAD-486C-8984-C9D075EC5373}" srcOrd="0" destOrd="0" presId="urn:microsoft.com/office/officeart/2005/8/layout/orgChart1"/>
    <dgm:cxn modelId="{FC5F94D7-D8FE-40C3-975D-288EFA132FED}" type="presParOf" srcId="{E7C21C88-1181-4CA7-82F5-7A641FAFE34F}" destId="{33B6CB28-3A62-490C-B894-1AB4D415C371}" srcOrd="1" destOrd="0" presId="urn:microsoft.com/office/officeart/2005/8/layout/orgChart1"/>
    <dgm:cxn modelId="{B342D10E-CB46-46D8-8DDB-62C6810935D1}" type="presParOf" srcId="{83C690A3-3195-4060-B148-51E9B13C7A15}" destId="{A22F1229-4540-4354-B7EA-C90EB29328FD}" srcOrd="1" destOrd="0" presId="urn:microsoft.com/office/officeart/2005/8/layout/orgChart1"/>
    <dgm:cxn modelId="{15799FE2-9281-45D0-A1A9-7E3B88579D88}" type="presParOf" srcId="{A22F1229-4540-4354-B7EA-C90EB29328FD}" destId="{5B633D37-8164-45BC-B301-58D48A17A8D6}" srcOrd="0" destOrd="0" presId="urn:microsoft.com/office/officeart/2005/8/layout/orgChart1"/>
    <dgm:cxn modelId="{02D184B9-C83A-4F95-8623-89093A6EC708}" type="presParOf" srcId="{A22F1229-4540-4354-B7EA-C90EB29328FD}" destId="{0E38470C-1483-4BB5-940C-1F1CCE2A17E9}" srcOrd="1" destOrd="0" presId="urn:microsoft.com/office/officeart/2005/8/layout/orgChart1"/>
    <dgm:cxn modelId="{1A918B34-2823-4A0D-90EC-CA1ABDCA826D}" type="presParOf" srcId="{0E38470C-1483-4BB5-940C-1F1CCE2A17E9}" destId="{F6E73870-2D34-4399-BC1E-CF28413B3F7F}" srcOrd="0" destOrd="0" presId="urn:microsoft.com/office/officeart/2005/8/layout/orgChart1"/>
    <dgm:cxn modelId="{23845F36-51BD-4E1D-B527-2FBD7753546E}" type="presParOf" srcId="{F6E73870-2D34-4399-BC1E-CF28413B3F7F}" destId="{1C3E4DE7-9863-4F5A-ACE7-1EF49E6C3EB3}" srcOrd="0" destOrd="0" presId="urn:microsoft.com/office/officeart/2005/8/layout/orgChart1"/>
    <dgm:cxn modelId="{C773593E-6D8A-45AE-95A4-ED6FF0D2B044}" type="presParOf" srcId="{F6E73870-2D34-4399-BC1E-CF28413B3F7F}" destId="{E99C6A04-AE1E-4727-9A04-D39FDCE883B7}" srcOrd="1" destOrd="0" presId="urn:microsoft.com/office/officeart/2005/8/layout/orgChart1"/>
    <dgm:cxn modelId="{3AFF70D4-E991-4E91-B6B0-BC396F8CECAA}" type="presParOf" srcId="{0E38470C-1483-4BB5-940C-1F1CCE2A17E9}" destId="{200572BA-6C07-459A-8BFA-38C01EE4DFE5}" srcOrd="1" destOrd="0" presId="urn:microsoft.com/office/officeart/2005/8/layout/orgChart1"/>
    <dgm:cxn modelId="{8F27C0C7-FF68-4292-AC48-CADD3F12854F}" type="presParOf" srcId="{0E38470C-1483-4BB5-940C-1F1CCE2A17E9}" destId="{503DE3AF-45F3-4D9B-AA8C-6E1A289BFEA0}" srcOrd="2" destOrd="0" presId="urn:microsoft.com/office/officeart/2005/8/layout/orgChart1"/>
    <dgm:cxn modelId="{646AB969-CE56-42D3-85BD-89E09D0E74CF}" type="presParOf" srcId="{83C690A3-3195-4060-B148-51E9B13C7A15}" destId="{1E34BF38-3808-4CA0-B428-50B00393EA36}" srcOrd="2" destOrd="0" presId="urn:microsoft.com/office/officeart/2005/8/layout/orgChart1"/>
    <dgm:cxn modelId="{A2041386-61EF-4E1B-8955-2A2CE0C5F211}" type="presParOf" srcId="{D56C3F74-F11E-4422-9198-8C101126B9CD}" destId="{B18BD3D6-522C-4CE0-8AE9-C0CE50701B33}" srcOrd="2" destOrd="0" presId="urn:microsoft.com/office/officeart/2005/8/layout/orgChart1"/>
    <dgm:cxn modelId="{39245170-4C63-4010-8A47-13D114E420DB}" type="presParOf" srcId="{C90B4E9F-327B-4453-97EC-D7C5A271DC6B}" destId="{49F63E9F-FCAA-4367-A577-CD038444C5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CB0B711-4E81-46B3-933B-E26047AE91C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B311FB6-2EF0-42CD-8E6A-2721E48B4919}">
      <dgm:prSet phldrT="[Texto]"/>
      <dgm:spPr/>
      <dgm:t>
        <a:bodyPr/>
        <a:lstStyle/>
        <a:p>
          <a:r>
            <a:rPr lang="es-MX" dirty="0" smtClean="0"/>
            <a:t>Reino de España</a:t>
          </a:r>
          <a:endParaRPr lang="es-CO" dirty="0"/>
        </a:p>
      </dgm:t>
    </dgm:pt>
    <dgm:pt modelId="{340CF0F0-32F7-4D76-A74B-56DBB4A708D2}" type="parTrans" cxnId="{0E3BE853-2BD4-472F-8023-355D57DF475D}">
      <dgm:prSet/>
      <dgm:spPr/>
      <dgm:t>
        <a:bodyPr/>
        <a:lstStyle/>
        <a:p>
          <a:endParaRPr lang="es-CO"/>
        </a:p>
      </dgm:t>
    </dgm:pt>
    <dgm:pt modelId="{AD1B0A4D-7FEC-4A93-AEF3-EF5F815342F5}" type="sibTrans" cxnId="{0E3BE853-2BD4-472F-8023-355D57DF475D}">
      <dgm:prSet/>
      <dgm:spPr/>
      <dgm:t>
        <a:bodyPr/>
        <a:lstStyle/>
        <a:p>
          <a:endParaRPr lang="es-CO"/>
        </a:p>
      </dgm:t>
    </dgm:pt>
    <dgm:pt modelId="{0245261F-479A-498C-81A0-39ACCDAF2493}">
      <dgm:prSet phldrT="[Texto]"/>
      <dgm:spPr/>
      <dgm:t>
        <a:bodyPr/>
        <a:lstStyle/>
        <a:p>
          <a:r>
            <a:rPr lang="es-CO" i="1" dirty="0" smtClean="0"/>
            <a:t>Ministerio de Industria, Turismo y Comercio</a:t>
          </a:r>
          <a:r>
            <a:rPr lang="es-CO" dirty="0" smtClean="0"/>
            <a:t> </a:t>
          </a:r>
          <a:endParaRPr lang="es-CO" dirty="0"/>
        </a:p>
      </dgm:t>
    </dgm:pt>
    <dgm:pt modelId="{2524ED3E-98D5-4280-9996-F1547F11CC6A}" type="parTrans" cxnId="{01137729-3681-4B7B-8E76-EEB4EEB2F6EE}">
      <dgm:prSet/>
      <dgm:spPr/>
      <dgm:t>
        <a:bodyPr/>
        <a:lstStyle/>
        <a:p>
          <a:endParaRPr lang="es-CO"/>
        </a:p>
      </dgm:t>
    </dgm:pt>
    <dgm:pt modelId="{78598DF0-A974-496F-959A-7611EDF9C618}" type="sibTrans" cxnId="{01137729-3681-4B7B-8E76-EEB4EEB2F6EE}">
      <dgm:prSet/>
      <dgm:spPr/>
      <dgm:t>
        <a:bodyPr/>
        <a:lstStyle/>
        <a:p>
          <a:endParaRPr lang="es-CO"/>
        </a:p>
      </dgm:t>
    </dgm:pt>
    <dgm:pt modelId="{C8CC57C0-A28C-4AB1-A7B6-97F51169B61B}">
      <dgm:prSet/>
      <dgm:spPr/>
      <dgm:t>
        <a:bodyPr/>
        <a:lstStyle/>
        <a:p>
          <a:r>
            <a:rPr lang="es-MX" dirty="0" smtClean="0"/>
            <a:t>Comisión Nacional de la Energía CNE</a:t>
          </a:r>
          <a:endParaRPr lang="es-CO" b="1" dirty="0"/>
        </a:p>
      </dgm:t>
    </dgm:pt>
    <dgm:pt modelId="{1422E8CA-B041-4D45-B15E-05CB42393EE8}" type="parTrans" cxnId="{7C9A0244-1947-4A9C-ADD1-02B9289A7A08}">
      <dgm:prSet/>
      <dgm:spPr/>
      <dgm:t>
        <a:bodyPr/>
        <a:lstStyle/>
        <a:p>
          <a:endParaRPr lang="es-CO"/>
        </a:p>
      </dgm:t>
    </dgm:pt>
    <dgm:pt modelId="{E386F8AD-811B-4BE4-9646-65E2D0C58FF3}" type="sibTrans" cxnId="{7C9A0244-1947-4A9C-ADD1-02B9289A7A08}">
      <dgm:prSet/>
      <dgm:spPr/>
      <dgm:t>
        <a:bodyPr/>
        <a:lstStyle/>
        <a:p>
          <a:endParaRPr lang="es-CO"/>
        </a:p>
      </dgm:t>
    </dgm:pt>
    <dgm:pt modelId="{331F5040-F4FF-4E1A-A651-1F9EA763D630}">
      <dgm:prSet/>
      <dgm:spPr/>
      <dgm:t>
        <a:bodyPr/>
        <a:lstStyle/>
        <a:p>
          <a:r>
            <a:rPr lang="es-MX" dirty="0" smtClean="0"/>
            <a:t>Aprueba  las </a:t>
          </a:r>
          <a:r>
            <a:rPr lang="es-MX" b="1" dirty="0" smtClean="0"/>
            <a:t>Normas Técnicas de Gestión del Sistema NTGS</a:t>
          </a:r>
          <a:endParaRPr lang="es-CO" b="1" dirty="0"/>
        </a:p>
      </dgm:t>
    </dgm:pt>
    <dgm:pt modelId="{36A391FB-94A3-421B-A78E-A3095B2DF14F}" type="parTrans" cxnId="{1FD74145-C564-4BA2-9231-B2C2A8F3B081}">
      <dgm:prSet/>
      <dgm:spPr/>
      <dgm:t>
        <a:bodyPr/>
        <a:lstStyle/>
        <a:p>
          <a:endParaRPr lang="es-CO"/>
        </a:p>
      </dgm:t>
    </dgm:pt>
    <dgm:pt modelId="{9153B360-1A1F-40EF-80A2-96C59714BC8C}" type="sibTrans" cxnId="{1FD74145-C564-4BA2-9231-B2C2A8F3B081}">
      <dgm:prSet/>
      <dgm:spPr/>
      <dgm:t>
        <a:bodyPr/>
        <a:lstStyle/>
        <a:p>
          <a:endParaRPr lang="es-CO"/>
        </a:p>
      </dgm:t>
    </dgm:pt>
    <dgm:pt modelId="{38C32D67-F075-43A5-9914-77632BEDCC96}" type="pres">
      <dgm:prSet presAssocID="{FCB0B711-4E81-46B3-933B-E26047AE91C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C90B4E9F-327B-4453-97EC-D7C5A271DC6B}" type="pres">
      <dgm:prSet presAssocID="{6B311FB6-2EF0-42CD-8E6A-2721E48B4919}" presName="hierRoot1" presStyleCnt="0">
        <dgm:presLayoutVars>
          <dgm:hierBranch val="init"/>
        </dgm:presLayoutVars>
      </dgm:prSet>
      <dgm:spPr/>
    </dgm:pt>
    <dgm:pt modelId="{B2405433-F526-42AD-80C5-D2E6569BC003}" type="pres">
      <dgm:prSet presAssocID="{6B311FB6-2EF0-42CD-8E6A-2721E48B4919}" presName="rootComposite1" presStyleCnt="0"/>
      <dgm:spPr/>
    </dgm:pt>
    <dgm:pt modelId="{0F38621C-8D55-471B-9F1E-D989ADE1658D}" type="pres">
      <dgm:prSet presAssocID="{6B311FB6-2EF0-42CD-8E6A-2721E48B491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5B367D1-B4C7-46C0-AFCD-23DC3E3D646D}" type="pres">
      <dgm:prSet presAssocID="{6B311FB6-2EF0-42CD-8E6A-2721E48B491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9BF68A41-34C2-43C3-ABFE-34F49CF1A412}" type="pres">
      <dgm:prSet presAssocID="{6B311FB6-2EF0-42CD-8E6A-2721E48B4919}" presName="hierChild2" presStyleCnt="0"/>
      <dgm:spPr/>
    </dgm:pt>
    <dgm:pt modelId="{19493E0C-3FC1-48D7-8262-C30EEB4131D1}" type="pres">
      <dgm:prSet presAssocID="{2524ED3E-98D5-4280-9996-F1547F11CC6A}" presName="Name37" presStyleLbl="parChTrans1D2" presStyleIdx="0" presStyleCnt="1"/>
      <dgm:spPr/>
      <dgm:t>
        <a:bodyPr/>
        <a:lstStyle/>
        <a:p>
          <a:endParaRPr lang="es-CO"/>
        </a:p>
      </dgm:t>
    </dgm:pt>
    <dgm:pt modelId="{D56C3F74-F11E-4422-9198-8C101126B9CD}" type="pres">
      <dgm:prSet presAssocID="{0245261F-479A-498C-81A0-39ACCDAF2493}" presName="hierRoot2" presStyleCnt="0">
        <dgm:presLayoutVars>
          <dgm:hierBranch/>
        </dgm:presLayoutVars>
      </dgm:prSet>
      <dgm:spPr/>
    </dgm:pt>
    <dgm:pt modelId="{85256B29-BC73-497E-ACD7-C5A29A5ED38B}" type="pres">
      <dgm:prSet presAssocID="{0245261F-479A-498C-81A0-39ACCDAF2493}" presName="rootComposite" presStyleCnt="0"/>
      <dgm:spPr/>
    </dgm:pt>
    <dgm:pt modelId="{CE671201-8CD8-4C39-88DE-325AEF042F9E}" type="pres">
      <dgm:prSet presAssocID="{0245261F-479A-498C-81A0-39ACCDAF2493}" presName="rootText" presStyleLbl="node2" presStyleIdx="0" presStyleCnt="1" custScaleX="11248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0AB459A-BCB4-43F5-819F-2BBE59215260}" type="pres">
      <dgm:prSet presAssocID="{0245261F-479A-498C-81A0-39ACCDAF2493}" presName="rootConnector" presStyleLbl="node2" presStyleIdx="0" presStyleCnt="1"/>
      <dgm:spPr/>
      <dgm:t>
        <a:bodyPr/>
        <a:lstStyle/>
        <a:p>
          <a:endParaRPr lang="es-CO"/>
        </a:p>
      </dgm:t>
    </dgm:pt>
    <dgm:pt modelId="{F9CABF1B-9945-4CCC-B3E1-A85E15D5AB34}" type="pres">
      <dgm:prSet presAssocID="{0245261F-479A-498C-81A0-39ACCDAF2493}" presName="hierChild4" presStyleCnt="0"/>
      <dgm:spPr/>
    </dgm:pt>
    <dgm:pt modelId="{C283ED2B-2F9D-4632-9D98-C8FC54E5CA7A}" type="pres">
      <dgm:prSet presAssocID="{1422E8CA-B041-4D45-B15E-05CB42393EE8}" presName="Name35" presStyleLbl="parChTrans1D3" presStyleIdx="0" presStyleCnt="1"/>
      <dgm:spPr/>
      <dgm:t>
        <a:bodyPr/>
        <a:lstStyle/>
        <a:p>
          <a:endParaRPr lang="es-CO"/>
        </a:p>
      </dgm:t>
    </dgm:pt>
    <dgm:pt modelId="{83C690A3-3195-4060-B148-51E9B13C7A15}" type="pres">
      <dgm:prSet presAssocID="{C8CC57C0-A28C-4AB1-A7B6-97F51169B61B}" presName="hierRoot2" presStyleCnt="0">
        <dgm:presLayoutVars>
          <dgm:hierBranch val="init"/>
        </dgm:presLayoutVars>
      </dgm:prSet>
      <dgm:spPr/>
    </dgm:pt>
    <dgm:pt modelId="{E7C21C88-1181-4CA7-82F5-7A641FAFE34F}" type="pres">
      <dgm:prSet presAssocID="{C8CC57C0-A28C-4AB1-A7B6-97F51169B61B}" presName="rootComposite" presStyleCnt="0"/>
      <dgm:spPr/>
    </dgm:pt>
    <dgm:pt modelId="{660C3117-ECAD-486C-8984-C9D075EC5373}" type="pres">
      <dgm:prSet presAssocID="{C8CC57C0-A28C-4AB1-A7B6-97F51169B61B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3B6CB28-3A62-490C-B894-1AB4D415C371}" type="pres">
      <dgm:prSet presAssocID="{C8CC57C0-A28C-4AB1-A7B6-97F51169B61B}" presName="rootConnector" presStyleLbl="node3" presStyleIdx="0" presStyleCnt="1"/>
      <dgm:spPr/>
      <dgm:t>
        <a:bodyPr/>
        <a:lstStyle/>
        <a:p>
          <a:endParaRPr lang="es-CO"/>
        </a:p>
      </dgm:t>
    </dgm:pt>
    <dgm:pt modelId="{A22F1229-4540-4354-B7EA-C90EB29328FD}" type="pres">
      <dgm:prSet presAssocID="{C8CC57C0-A28C-4AB1-A7B6-97F51169B61B}" presName="hierChild4" presStyleCnt="0"/>
      <dgm:spPr/>
    </dgm:pt>
    <dgm:pt modelId="{5B633D37-8164-45BC-B301-58D48A17A8D6}" type="pres">
      <dgm:prSet presAssocID="{36A391FB-94A3-421B-A78E-A3095B2DF14F}" presName="Name37" presStyleLbl="parChTrans1D4" presStyleIdx="0" presStyleCnt="1"/>
      <dgm:spPr/>
      <dgm:t>
        <a:bodyPr/>
        <a:lstStyle/>
        <a:p>
          <a:endParaRPr lang="es-CO"/>
        </a:p>
      </dgm:t>
    </dgm:pt>
    <dgm:pt modelId="{0E38470C-1483-4BB5-940C-1F1CCE2A17E9}" type="pres">
      <dgm:prSet presAssocID="{331F5040-F4FF-4E1A-A651-1F9EA763D630}" presName="hierRoot2" presStyleCnt="0">
        <dgm:presLayoutVars>
          <dgm:hierBranch val="init"/>
        </dgm:presLayoutVars>
      </dgm:prSet>
      <dgm:spPr/>
    </dgm:pt>
    <dgm:pt modelId="{F6E73870-2D34-4399-BC1E-CF28413B3F7F}" type="pres">
      <dgm:prSet presAssocID="{331F5040-F4FF-4E1A-A651-1F9EA763D630}" presName="rootComposite" presStyleCnt="0"/>
      <dgm:spPr/>
    </dgm:pt>
    <dgm:pt modelId="{1C3E4DE7-9863-4F5A-ACE7-1EF49E6C3EB3}" type="pres">
      <dgm:prSet presAssocID="{331F5040-F4FF-4E1A-A651-1F9EA763D630}" presName="rootText" presStyleLbl="node4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99C6A04-AE1E-4727-9A04-D39FDCE883B7}" type="pres">
      <dgm:prSet presAssocID="{331F5040-F4FF-4E1A-A651-1F9EA763D630}" presName="rootConnector" presStyleLbl="node4" presStyleIdx="0" presStyleCnt="1"/>
      <dgm:spPr/>
      <dgm:t>
        <a:bodyPr/>
        <a:lstStyle/>
        <a:p>
          <a:endParaRPr lang="es-CO"/>
        </a:p>
      </dgm:t>
    </dgm:pt>
    <dgm:pt modelId="{200572BA-6C07-459A-8BFA-38C01EE4DFE5}" type="pres">
      <dgm:prSet presAssocID="{331F5040-F4FF-4E1A-A651-1F9EA763D630}" presName="hierChild4" presStyleCnt="0"/>
      <dgm:spPr/>
    </dgm:pt>
    <dgm:pt modelId="{503DE3AF-45F3-4D9B-AA8C-6E1A289BFEA0}" type="pres">
      <dgm:prSet presAssocID="{331F5040-F4FF-4E1A-A651-1F9EA763D630}" presName="hierChild5" presStyleCnt="0"/>
      <dgm:spPr/>
    </dgm:pt>
    <dgm:pt modelId="{1E34BF38-3808-4CA0-B428-50B00393EA36}" type="pres">
      <dgm:prSet presAssocID="{C8CC57C0-A28C-4AB1-A7B6-97F51169B61B}" presName="hierChild5" presStyleCnt="0"/>
      <dgm:spPr/>
    </dgm:pt>
    <dgm:pt modelId="{B18BD3D6-522C-4CE0-8AE9-C0CE50701B33}" type="pres">
      <dgm:prSet presAssocID="{0245261F-479A-498C-81A0-39ACCDAF2493}" presName="hierChild5" presStyleCnt="0"/>
      <dgm:spPr/>
    </dgm:pt>
    <dgm:pt modelId="{49F63E9F-FCAA-4367-A577-CD038444C58B}" type="pres">
      <dgm:prSet presAssocID="{6B311FB6-2EF0-42CD-8E6A-2721E48B4919}" presName="hierChild3" presStyleCnt="0"/>
      <dgm:spPr/>
    </dgm:pt>
  </dgm:ptLst>
  <dgm:cxnLst>
    <dgm:cxn modelId="{01137729-3681-4B7B-8E76-EEB4EEB2F6EE}" srcId="{6B311FB6-2EF0-42CD-8E6A-2721E48B4919}" destId="{0245261F-479A-498C-81A0-39ACCDAF2493}" srcOrd="0" destOrd="0" parTransId="{2524ED3E-98D5-4280-9996-F1547F11CC6A}" sibTransId="{78598DF0-A974-496F-959A-7611EDF9C618}"/>
    <dgm:cxn modelId="{2740140A-3405-40E3-9EEA-A243F14638E6}" type="presOf" srcId="{331F5040-F4FF-4E1A-A651-1F9EA763D630}" destId="{E99C6A04-AE1E-4727-9A04-D39FDCE883B7}" srcOrd="1" destOrd="0" presId="urn:microsoft.com/office/officeart/2005/8/layout/orgChart1"/>
    <dgm:cxn modelId="{0E3BE853-2BD4-472F-8023-355D57DF475D}" srcId="{FCB0B711-4E81-46B3-933B-E26047AE91CC}" destId="{6B311FB6-2EF0-42CD-8E6A-2721E48B4919}" srcOrd="0" destOrd="0" parTransId="{340CF0F0-32F7-4D76-A74B-56DBB4A708D2}" sibTransId="{AD1B0A4D-7FEC-4A93-AEF3-EF5F815342F5}"/>
    <dgm:cxn modelId="{FB7C1994-FA4F-4312-8BA1-C4167F286D36}" type="presOf" srcId="{36A391FB-94A3-421B-A78E-A3095B2DF14F}" destId="{5B633D37-8164-45BC-B301-58D48A17A8D6}" srcOrd="0" destOrd="0" presId="urn:microsoft.com/office/officeart/2005/8/layout/orgChart1"/>
    <dgm:cxn modelId="{DA5BC310-C87C-4EDD-ADCB-5E819B5639B7}" type="presOf" srcId="{C8CC57C0-A28C-4AB1-A7B6-97F51169B61B}" destId="{33B6CB28-3A62-490C-B894-1AB4D415C371}" srcOrd="1" destOrd="0" presId="urn:microsoft.com/office/officeart/2005/8/layout/orgChart1"/>
    <dgm:cxn modelId="{39517780-0E29-4063-8C9D-6B6728A7BE90}" type="presOf" srcId="{FCB0B711-4E81-46B3-933B-E26047AE91CC}" destId="{38C32D67-F075-43A5-9914-77632BEDCC96}" srcOrd="0" destOrd="0" presId="urn:microsoft.com/office/officeart/2005/8/layout/orgChart1"/>
    <dgm:cxn modelId="{8A93288B-1EF0-4539-830D-A9ED9B9E9862}" type="presOf" srcId="{331F5040-F4FF-4E1A-A651-1F9EA763D630}" destId="{1C3E4DE7-9863-4F5A-ACE7-1EF49E6C3EB3}" srcOrd="0" destOrd="0" presId="urn:microsoft.com/office/officeart/2005/8/layout/orgChart1"/>
    <dgm:cxn modelId="{BA2D633D-EEC0-48C5-BA63-D269EF0513C8}" type="presOf" srcId="{6B311FB6-2EF0-42CD-8E6A-2721E48B4919}" destId="{65B367D1-B4C7-46C0-AFCD-23DC3E3D646D}" srcOrd="1" destOrd="0" presId="urn:microsoft.com/office/officeart/2005/8/layout/orgChart1"/>
    <dgm:cxn modelId="{3CE2B021-8F1E-4420-9884-32528A811246}" type="presOf" srcId="{C8CC57C0-A28C-4AB1-A7B6-97F51169B61B}" destId="{660C3117-ECAD-486C-8984-C9D075EC5373}" srcOrd="0" destOrd="0" presId="urn:microsoft.com/office/officeart/2005/8/layout/orgChart1"/>
    <dgm:cxn modelId="{01163BBA-0B2F-4D05-A236-F3C368963066}" type="presOf" srcId="{6B311FB6-2EF0-42CD-8E6A-2721E48B4919}" destId="{0F38621C-8D55-471B-9F1E-D989ADE1658D}" srcOrd="0" destOrd="0" presId="urn:microsoft.com/office/officeart/2005/8/layout/orgChart1"/>
    <dgm:cxn modelId="{10D41F06-CBCE-4B9A-8FA6-1E1214069E12}" type="presOf" srcId="{0245261F-479A-498C-81A0-39ACCDAF2493}" destId="{E0AB459A-BCB4-43F5-819F-2BBE59215260}" srcOrd="1" destOrd="0" presId="urn:microsoft.com/office/officeart/2005/8/layout/orgChart1"/>
    <dgm:cxn modelId="{ACAC6737-C2E0-4F08-8A62-2F2DFDF7A219}" type="presOf" srcId="{1422E8CA-B041-4D45-B15E-05CB42393EE8}" destId="{C283ED2B-2F9D-4632-9D98-C8FC54E5CA7A}" srcOrd="0" destOrd="0" presId="urn:microsoft.com/office/officeart/2005/8/layout/orgChart1"/>
    <dgm:cxn modelId="{9AD72CE4-0AF3-4ED3-840A-FABE70AD7BEC}" type="presOf" srcId="{0245261F-479A-498C-81A0-39ACCDAF2493}" destId="{CE671201-8CD8-4C39-88DE-325AEF042F9E}" srcOrd="0" destOrd="0" presId="urn:microsoft.com/office/officeart/2005/8/layout/orgChart1"/>
    <dgm:cxn modelId="{1949BBB6-01F6-40C9-82C7-C246ACD4B95B}" type="presOf" srcId="{2524ED3E-98D5-4280-9996-F1547F11CC6A}" destId="{19493E0C-3FC1-48D7-8262-C30EEB4131D1}" srcOrd="0" destOrd="0" presId="urn:microsoft.com/office/officeart/2005/8/layout/orgChart1"/>
    <dgm:cxn modelId="{7C9A0244-1947-4A9C-ADD1-02B9289A7A08}" srcId="{0245261F-479A-498C-81A0-39ACCDAF2493}" destId="{C8CC57C0-A28C-4AB1-A7B6-97F51169B61B}" srcOrd="0" destOrd="0" parTransId="{1422E8CA-B041-4D45-B15E-05CB42393EE8}" sibTransId="{E386F8AD-811B-4BE4-9646-65E2D0C58FF3}"/>
    <dgm:cxn modelId="{1FD74145-C564-4BA2-9231-B2C2A8F3B081}" srcId="{C8CC57C0-A28C-4AB1-A7B6-97F51169B61B}" destId="{331F5040-F4FF-4E1A-A651-1F9EA763D630}" srcOrd="0" destOrd="0" parTransId="{36A391FB-94A3-421B-A78E-A3095B2DF14F}" sibTransId="{9153B360-1A1F-40EF-80A2-96C59714BC8C}"/>
    <dgm:cxn modelId="{4E68A913-BA90-49F3-BBE7-C14C1631F28C}" type="presParOf" srcId="{38C32D67-F075-43A5-9914-77632BEDCC96}" destId="{C90B4E9F-327B-4453-97EC-D7C5A271DC6B}" srcOrd="0" destOrd="0" presId="urn:microsoft.com/office/officeart/2005/8/layout/orgChart1"/>
    <dgm:cxn modelId="{6C95E29E-54AE-498A-A958-B86D492C063F}" type="presParOf" srcId="{C90B4E9F-327B-4453-97EC-D7C5A271DC6B}" destId="{B2405433-F526-42AD-80C5-D2E6569BC003}" srcOrd="0" destOrd="0" presId="urn:microsoft.com/office/officeart/2005/8/layout/orgChart1"/>
    <dgm:cxn modelId="{1ED9638C-F898-454B-BE22-8691AE9B6284}" type="presParOf" srcId="{B2405433-F526-42AD-80C5-D2E6569BC003}" destId="{0F38621C-8D55-471B-9F1E-D989ADE1658D}" srcOrd="0" destOrd="0" presId="urn:microsoft.com/office/officeart/2005/8/layout/orgChart1"/>
    <dgm:cxn modelId="{78ABF2AD-EE6E-460B-AE55-0D549BE30321}" type="presParOf" srcId="{B2405433-F526-42AD-80C5-D2E6569BC003}" destId="{65B367D1-B4C7-46C0-AFCD-23DC3E3D646D}" srcOrd="1" destOrd="0" presId="urn:microsoft.com/office/officeart/2005/8/layout/orgChart1"/>
    <dgm:cxn modelId="{EA8A1B9D-5F0C-49D5-BCE3-905A5BDA38DC}" type="presParOf" srcId="{C90B4E9F-327B-4453-97EC-D7C5A271DC6B}" destId="{9BF68A41-34C2-43C3-ABFE-34F49CF1A412}" srcOrd="1" destOrd="0" presId="urn:microsoft.com/office/officeart/2005/8/layout/orgChart1"/>
    <dgm:cxn modelId="{07F3D018-E93D-4B2A-9C85-8426E3EA15D0}" type="presParOf" srcId="{9BF68A41-34C2-43C3-ABFE-34F49CF1A412}" destId="{19493E0C-3FC1-48D7-8262-C30EEB4131D1}" srcOrd="0" destOrd="0" presId="urn:microsoft.com/office/officeart/2005/8/layout/orgChart1"/>
    <dgm:cxn modelId="{F5CA05F0-E2C0-4501-B58D-190B23283A07}" type="presParOf" srcId="{9BF68A41-34C2-43C3-ABFE-34F49CF1A412}" destId="{D56C3F74-F11E-4422-9198-8C101126B9CD}" srcOrd="1" destOrd="0" presId="urn:microsoft.com/office/officeart/2005/8/layout/orgChart1"/>
    <dgm:cxn modelId="{0E138F2C-517C-4C13-9FED-E27EBEA2FE60}" type="presParOf" srcId="{D56C3F74-F11E-4422-9198-8C101126B9CD}" destId="{85256B29-BC73-497E-ACD7-C5A29A5ED38B}" srcOrd="0" destOrd="0" presId="urn:microsoft.com/office/officeart/2005/8/layout/orgChart1"/>
    <dgm:cxn modelId="{FDCFA691-FA7F-4281-95A5-3C164CBFE4CF}" type="presParOf" srcId="{85256B29-BC73-497E-ACD7-C5A29A5ED38B}" destId="{CE671201-8CD8-4C39-88DE-325AEF042F9E}" srcOrd="0" destOrd="0" presId="urn:microsoft.com/office/officeart/2005/8/layout/orgChart1"/>
    <dgm:cxn modelId="{66FB7269-D270-46E0-ABD5-565692C5369D}" type="presParOf" srcId="{85256B29-BC73-497E-ACD7-C5A29A5ED38B}" destId="{E0AB459A-BCB4-43F5-819F-2BBE59215260}" srcOrd="1" destOrd="0" presId="urn:microsoft.com/office/officeart/2005/8/layout/orgChart1"/>
    <dgm:cxn modelId="{A6EDA829-616F-4C0A-BD93-761785E737BA}" type="presParOf" srcId="{D56C3F74-F11E-4422-9198-8C101126B9CD}" destId="{F9CABF1B-9945-4CCC-B3E1-A85E15D5AB34}" srcOrd="1" destOrd="0" presId="urn:microsoft.com/office/officeart/2005/8/layout/orgChart1"/>
    <dgm:cxn modelId="{C207889E-8478-4142-8353-58BA82B471D2}" type="presParOf" srcId="{F9CABF1B-9945-4CCC-B3E1-A85E15D5AB34}" destId="{C283ED2B-2F9D-4632-9D98-C8FC54E5CA7A}" srcOrd="0" destOrd="0" presId="urn:microsoft.com/office/officeart/2005/8/layout/orgChart1"/>
    <dgm:cxn modelId="{CF06AE71-E370-48C0-A449-A35AE2ECAB66}" type="presParOf" srcId="{F9CABF1B-9945-4CCC-B3E1-A85E15D5AB34}" destId="{83C690A3-3195-4060-B148-51E9B13C7A15}" srcOrd="1" destOrd="0" presId="urn:microsoft.com/office/officeart/2005/8/layout/orgChart1"/>
    <dgm:cxn modelId="{249D60CC-B0A6-4EEA-8131-DBDE18703B7B}" type="presParOf" srcId="{83C690A3-3195-4060-B148-51E9B13C7A15}" destId="{E7C21C88-1181-4CA7-82F5-7A641FAFE34F}" srcOrd="0" destOrd="0" presId="urn:microsoft.com/office/officeart/2005/8/layout/orgChart1"/>
    <dgm:cxn modelId="{14473904-22DB-4BE8-A5E3-FBFC38D6FB3A}" type="presParOf" srcId="{E7C21C88-1181-4CA7-82F5-7A641FAFE34F}" destId="{660C3117-ECAD-486C-8984-C9D075EC5373}" srcOrd="0" destOrd="0" presId="urn:microsoft.com/office/officeart/2005/8/layout/orgChart1"/>
    <dgm:cxn modelId="{46E862A6-7CFE-4E77-BA7F-D790E15515F5}" type="presParOf" srcId="{E7C21C88-1181-4CA7-82F5-7A641FAFE34F}" destId="{33B6CB28-3A62-490C-B894-1AB4D415C371}" srcOrd="1" destOrd="0" presId="urn:microsoft.com/office/officeart/2005/8/layout/orgChart1"/>
    <dgm:cxn modelId="{7F1009AA-A74A-44DF-A6D8-70FE00B86E37}" type="presParOf" srcId="{83C690A3-3195-4060-B148-51E9B13C7A15}" destId="{A22F1229-4540-4354-B7EA-C90EB29328FD}" srcOrd="1" destOrd="0" presId="urn:microsoft.com/office/officeart/2005/8/layout/orgChart1"/>
    <dgm:cxn modelId="{EA073175-A653-4E48-9989-E16184885837}" type="presParOf" srcId="{A22F1229-4540-4354-B7EA-C90EB29328FD}" destId="{5B633D37-8164-45BC-B301-58D48A17A8D6}" srcOrd="0" destOrd="0" presId="urn:microsoft.com/office/officeart/2005/8/layout/orgChart1"/>
    <dgm:cxn modelId="{8CA430D2-11A6-4F5F-AA10-7B4FA89A8B02}" type="presParOf" srcId="{A22F1229-4540-4354-B7EA-C90EB29328FD}" destId="{0E38470C-1483-4BB5-940C-1F1CCE2A17E9}" srcOrd="1" destOrd="0" presId="urn:microsoft.com/office/officeart/2005/8/layout/orgChart1"/>
    <dgm:cxn modelId="{13C4EA06-1713-4FF1-94DC-1CE732493D5B}" type="presParOf" srcId="{0E38470C-1483-4BB5-940C-1F1CCE2A17E9}" destId="{F6E73870-2D34-4399-BC1E-CF28413B3F7F}" srcOrd="0" destOrd="0" presId="urn:microsoft.com/office/officeart/2005/8/layout/orgChart1"/>
    <dgm:cxn modelId="{2E7A2DE1-7ECA-41CF-8E42-3E33AC922FDA}" type="presParOf" srcId="{F6E73870-2D34-4399-BC1E-CF28413B3F7F}" destId="{1C3E4DE7-9863-4F5A-ACE7-1EF49E6C3EB3}" srcOrd="0" destOrd="0" presId="urn:microsoft.com/office/officeart/2005/8/layout/orgChart1"/>
    <dgm:cxn modelId="{2D4E12D6-644F-49DE-A65C-02ADF52D6291}" type="presParOf" srcId="{F6E73870-2D34-4399-BC1E-CF28413B3F7F}" destId="{E99C6A04-AE1E-4727-9A04-D39FDCE883B7}" srcOrd="1" destOrd="0" presId="urn:microsoft.com/office/officeart/2005/8/layout/orgChart1"/>
    <dgm:cxn modelId="{975FA7F7-E6D3-4BD9-98EE-CA9C79D5875A}" type="presParOf" srcId="{0E38470C-1483-4BB5-940C-1F1CCE2A17E9}" destId="{200572BA-6C07-459A-8BFA-38C01EE4DFE5}" srcOrd="1" destOrd="0" presId="urn:microsoft.com/office/officeart/2005/8/layout/orgChart1"/>
    <dgm:cxn modelId="{63665753-F155-4652-B173-434898ED3EB2}" type="presParOf" srcId="{0E38470C-1483-4BB5-940C-1F1CCE2A17E9}" destId="{503DE3AF-45F3-4D9B-AA8C-6E1A289BFEA0}" srcOrd="2" destOrd="0" presId="urn:microsoft.com/office/officeart/2005/8/layout/orgChart1"/>
    <dgm:cxn modelId="{C683E06C-C65E-4FCC-9FDD-799CA7820183}" type="presParOf" srcId="{83C690A3-3195-4060-B148-51E9B13C7A15}" destId="{1E34BF38-3808-4CA0-B428-50B00393EA36}" srcOrd="2" destOrd="0" presId="urn:microsoft.com/office/officeart/2005/8/layout/orgChart1"/>
    <dgm:cxn modelId="{E3325932-D3B1-4E90-83CC-B746D74AAAB8}" type="presParOf" srcId="{D56C3F74-F11E-4422-9198-8C101126B9CD}" destId="{B18BD3D6-522C-4CE0-8AE9-C0CE50701B33}" srcOrd="2" destOrd="0" presId="urn:microsoft.com/office/officeart/2005/8/layout/orgChart1"/>
    <dgm:cxn modelId="{E1B21864-FEC0-4FB5-810E-ACC555D232B1}" type="presParOf" srcId="{C90B4E9F-327B-4453-97EC-D7C5A271DC6B}" destId="{49F63E9F-FCAA-4367-A577-CD038444C5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CB0B711-4E81-46B3-933B-E26047AE91C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B311FB6-2EF0-42CD-8E6A-2721E48B4919}">
      <dgm:prSet phldrT="[Texto]"/>
      <dgm:spPr/>
      <dgm:t>
        <a:bodyPr/>
        <a:lstStyle/>
        <a:p>
          <a:r>
            <a:rPr lang="es-MX" dirty="0" smtClean="0"/>
            <a:t>Italia</a:t>
          </a:r>
          <a:endParaRPr lang="es-CO" dirty="0"/>
        </a:p>
      </dgm:t>
    </dgm:pt>
    <dgm:pt modelId="{340CF0F0-32F7-4D76-A74B-56DBB4A708D2}" type="parTrans" cxnId="{0E3BE853-2BD4-472F-8023-355D57DF475D}">
      <dgm:prSet/>
      <dgm:spPr/>
      <dgm:t>
        <a:bodyPr/>
        <a:lstStyle/>
        <a:p>
          <a:endParaRPr lang="es-CO"/>
        </a:p>
      </dgm:t>
    </dgm:pt>
    <dgm:pt modelId="{AD1B0A4D-7FEC-4A93-AEF3-EF5F815342F5}" type="sibTrans" cxnId="{0E3BE853-2BD4-472F-8023-355D57DF475D}">
      <dgm:prSet/>
      <dgm:spPr/>
      <dgm:t>
        <a:bodyPr/>
        <a:lstStyle/>
        <a:p>
          <a:endParaRPr lang="es-CO"/>
        </a:p>
      </dgm:t>
    </dgm:pt>
    <dgm:pt modelId="{C8CC57C0-A28C-4AB1-A7B6-97F51169B61B}">
      <dgm:prSet/>
      <dgm:spPr/>
      <dgm:t>
        <a:bodyPr/>
        <a:lstStyle/>
        <a:p>
          <a:r>
            <a:rPr lang="es-MX" dirty="0" smtClean="0"/>
            <a:t>Autoridad Italiana de Electricidad y Gas</a:t>
          </a:r>
          <a:endParaRPr lang="es-CO" b="1" dirty="0"/>
        </a:p>
      </dgm:t>
    </dgm:pt>
    <dgm:pt modelId="{1422E8CA-B041-4D45-B15E-05CB42393EE8}" type="parTrans" cxnId="{7C9A0244-1947-4A9C-ADD1-02B9289A7A08}">
      <dgm:prSet/>
      <dgm:spPr/>
      <dgm:t>
        <a:bodyPr/>
        <a:lstStyle/>
        <a:p>
          <a:endParaRPr lang="es-CO"/>
        </a:p>
      </dgm:t>
    </dgm:pt>
    <dgm:pt modelId="{E386F8AD-811B-4BE4-9646-65E2D0C58FF3}" type="sibTrans" cxnId="{7C9A0244-1947-4A9C-ADD1-02B9289A7A08}">
      <dgm:prSet/>
      <dgm:spPr/>
      <dgm:t>
        <a:bodyPr/>
        <a:lstStyle/>
        <a:p>
          <a:endParaRPr lang="es-CO"/>
        </a:p>
      </dgm:t>
    </dgm:pt>
    <dgm:pt modelId="{331F5040-F4FF-4E1A-A651-1F9EA763D630}">
      <dgm:prSet/>
      <dgm:spPr/>
      <dgm:t>
        <a:bodyPr/>
        <a:lstStyle/>
        <a:p>
          <a:r>
            <a:rPr lang="es-MX" dirty="0" smtClean="0"/>
            <a:t>Aprueba  </a:t>
          </a:r>
          <a:r>
            <a:rPr lang="es-MX" b="0" dirty="0" smtClean="0"/>
            <a:t>el</a:t>
          </a:r>
          <a:r>
            <a:rPr lang="es-MX" b="1" dirty="0" smtClean="0"/>
            <a:t> Código de Red</a:t>
          </a:r>
          <a:endParaRPr lang="es-CO" b="1" dirty="0"/>
        </a:p>
      </dgm:t>
    </dgm:pt>
    <dgm:pt modelId="{36A391FB-94A3-421B-A78E-A3095B2DF14F}" type="parTrans" cxnId="{1FD74145-C564-4BA2-9231-B2C2A8F3B081}">
      <dgm:prSet/>
      <dgm:spPr/>
      <dgm:t>
        <a:bodyPr/>
        <a:lstStyle/>
        <a:p>
          <a:endParaRPr lang="es-CO"/>
        </a:p>
      </dgm:t>
    </dgm:pt>
    <dgm:pt modelId="{9153B360-1A1F-40EF-80A2-96C59714BC8C}" type="sibTrans" cxnId="{1FD74145-C564-4BA2-9231-B2C2A8F3B081}">
      <dgm:prSet/>
      <dgm:spPr/>
      <dgm:t>
        <a:bodyPr/>
        <a:lstStyle/>
        <a:p>
          <a:endParaRPr lang="es-CO"/>
        </a:p>
      </dgm:t>
    </dgm:pt>
    <dgm:pt modelId="{38C32D67-F075-43A5-9914-77632BEDCC96}" type="pres">
      <dgm:prSet presAssocID="{FCB0B711-4E81-46B3-933B-E26047AE91C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C90B4E9F-327B-4453-97EC-D7C5A271DC6B}" type="pres">
      <dgm:prSet presAssocID="{6B311FB6-2EF0-42CD-8E6A-2721E48B4919}" presName="hierRoot1" presStyleCnt="0">
        <dgm:presLayoutVars>
          <dgm:hierBranch val="init"/>
        </dgm:presLayoutVars>
      </dgm:prSet>
      <dgm:spPr/>
    </dgm:pt>
    <dgm:pt modelId="{B2405433-F526-42AD-80C5-D2E6569BC003}" type="pres">
      <dgm:prSet presAssocID="{6B311FB6-2EF0-42CD-8E6A-2721E48B4919}" presName="rootComposite1" presStyleCnt="0"/>
      <dgm:spPr/>
    </dgm:pt>
    <dgm:pt modelId="{0F38621C-8D55-471B-9F1E-D989ADE1658D}" type="pres">
      <dgm:prSet presAssocID="{6B311FB6-2EF0-42CD-8E6A-2721E48B4919}" presName="rootText1" presStyleLbl="node0" presStyleIdx="0" presStyleCnt="1" custLinFactNeighborY="-8874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5B367D1-B4C7-46C0-AFCD-23DC3E3D646D}" type="pres">
      <dgm:prSet presAssocID="{6B311FB6-2EF0-42CD-8E6A-2721E48B491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9BF68A41-34C2-43C3-ABFE-34F49CF1A412}" type="pres">
      <dgm:prSet presAssocID="{6B311FB6-2EF0-42CD-8E6A-2721E48B4919}" presName="hierChild2" presStyleCnt="0"/>
      <dgm:spPr/>
    </dgm:pt>
    <dgm:pt modelId="{EE44BD33-1699-498E-AD13-3D26EF7A756D}" type="pres">
      <dgm:prSet presAssocID="{1422E8CA-B041-4D45-B15E-05CB42393EE8}" presName="Name37" presStyleLbl="parChTrans1D2" presStyleIdx="0" presStyleCnt="1"/>
      <dgm:spPr/>
      <dgm:t>
        <a:bodyPr/>
        <a:lstStyle/>
        <a:p>
          <a:endParaRPr lang="es-CO"/>
        </a:p>
      </dgm:t>
    </dgm:pt>
    <dgm:pt modelId="{83C690A3-3195-4060-B148-51E9B13C7A15}" type="pres">
      <dgm:prSet presAssocID="{C8CC57C0-A28C-4AB1-A7B6-97F51169B61B}" presName="hierRoot2" presStyleCnt="0">
        <dgm:presLayoutVars>
          <dgm:hierBranch val="init"/>
        </dgm:presLayoutVars>
      </dgm:prSet>
      <dgm:spPr/>
    </dgm:pt>
    <dgm:pt modelId="{E7C21C88-1181-4CA7-82F5-7A641FAFE34F}" type="pres">
      <dgm:prSet presAssocID="{C8CC57C0-A28C-4AB1-A7B6-97F51169B61B}" presName="rootComposite" presStyleCnt="0"/>
      <dgm:spPr/>
    </dgm:pt>
    <dgm:pt modelId="{660C3117-ECAD-486C-8984-C9D075EC5373}" type="pres">
      <dgm:prSet presAssocID="{C8CC57C0-A28C-4AB1-A7B6-97F51169B61B}" presName="rootText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3B6CB28-3A62-490C-B894-1AB4D415C371}" type="pres">
      <dgm:prSet presAssocID="{C8CC57C0-A28C-4AB1-A7B6-97F51169B61B}" presName="rootConnector" presStyleLbl="node2" presStyleIdx="0" presStyleCnt="1"/>
      <dgm:spPr/>
      <dgm:t>
        <a:bodyPr/>
        <a:lstStyle/>
        <a:p>
          <a:endParaRPr lang="es-CO"/>
        </a:p>
      </dgm:t>
    </dgm:pt>
    <dgm:pt modelId="{A22F1229-4540-4354-B7EA-C90EB29328FD}" type="pres">
      <dgm:prSet presAssocID="{C8CC57C0-A28C-4AB1-A7B6-97F51169B61B}" presName="hierChild4" presStyleCnt="0"/>
      <dgm:spPr/>
    </dgm:pt>
    <dgm:pt modelId="{5B633D37-8164-45BC-B301-58D48A17A8D6}" type="pres">
      <dgm:prSet presAssocID="{36A391FB-94A3-421B-A78E-A3095B2DF14F}" presName="Name37" presStyleLbl="parChTrans1D3" presStyleIdx="0" presStyleCnt="1"/>
      <dgm:spPr/>
      <dgm:t>
        <a:bodyPr/>
        <a:lstStyle/>
        <a:p>
          <a:endParaRPr lang="es-CO"/>
        </a:p>
      </dgm:t>
    </dgm:pt>
    <dgm:pt modelId="{0E38470C-1483-4BB5-940C-1F1CCE2A17E9}" type="pres">
      <dgm:prSet presAssocID="{331F5040-F4FF-4E1A-A651-1F9EA763D630}" presName="hierRoot2" presStyleCnt="0">
        <dgm:presLayoutVars>
          <dgm:hierBranch val="init"/>
        </dgm:presLayoutVars>
      </dgm:prSet>
      <dgm:spPr/>
    </dgm:pt>
    <dgm:pt modelId="{F6E73870-2D34-4399-BC1E-CF28413B3F7F}" type="pres">
      <dgm:prSet presAssocID="{331F5040-F4FF-4E1A-A651-1F9EA763D630}" presName="rootComposite" presStyleCnt="0"/>
      <dgm:spPr/>
    </dgm:pt>
    <dgm:pt modelId="{1C3E4DE7-9863-4F5A-ACE7-1EF49E6C3EB3}" type="pres">
      <dgm:prSet presAssocID="{331F5040-F4FF-4E1A-A651-1F9EA763D630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99C6A04-AE1E-4727-9A04-D39FDCE883B7}" type="pres">
      <dgm:prSet presAssocID="{331F5040-F4FF-4E1A-A651-1F9EA763D630}" presName="rootConnector" presStyleLbl="node3" presStyleIdx="0" presStyleCnt="1"/>
      <dgm:spPr/>
      <dgm:t>
        <a:bodyPr/>
        <a:lstStyle/>
        <a:p>
          <a:endParaRPr lang="es-CO"/>
        </a:p>
      </dgm:t>
    </dgm:pt>
    <dgm:pt modelId="{200572BA-6C07-459A-8BFA-38C01EE4DFE5}" type="pres">
      <dgm:prSet presAssocID="{331F5040-F4FF-4E1A-A651-1F9EA763D630}" presName="hierChild4" presStyleCnt="0"/>
      <dgm:spPr/>
    </dgm:pt>
    <dgm:pt modelId="{503DE3AF-45F3-4D9B-AA8C-6E1A289BFEA0}" type="pres">
      <dgm:prSet presAssocID="{331F5040-F4FF-4E1A-A651-1F9EA763D630}" presName="hierChild5" presStyleCnt="0"/>
      <dgm:spPr/>
    </dgm:pt>
    <dgm:pt modelId="{1E34BF38-3808-4CA0-B428-50B00393EA36}" type="pres">
      <dgm:prSet presAssocID="{C8CC57C0-A28C-4AB1-A7B6-97F51169B61B}" presName="hierChild5" presStyleCnt="0"/>
      <dgm:spPr/>
    </dgm:pt>
    <dgm:pt modelId="{49F63E9F-FCAA-4367-A577-CD038444C58B}" type="pres">
      <dgm:prSet presAssocID="{6B311FB6-2EF0-42CD-8E6A-2721E48B4919}" presName="hierChild3" presStyleCnt="0"/>
      <dgm:spPr/>
    </dgm:pt>
  </dgm:ptLst>
  <dgm:cxnLst>
    <dgm:cxn modelId="{82DAA747-E431-49BC-9341-89F7E54099D1}" type="presOf" srcId="{C8CC57C0-A28C-4AB1-A7B6-97F51169B61B}" destId="{660C3117-ECAD-486C-8984-C9D075EC5373}" srcOrd="0" destOrd="0" presId="urn:microsoft.com/office/officeart/2005/8/layout/orgChart1"/>
    <dgm:cxn modelId="{55779FF5-CCAA-4363-9725-ED4D67333EBB}" type="presOf" srcId="{C8CC57C0-A28C-4AB1-A7B6-97F51169B61B}" destId="{33B6CB28-3A62-490C-B894-1AB4D415C371}" srcOrd="1" destOrd="0" presId="urn:microsoft.com/office/officeart/2005/8/layout/orgChart1"/>
    <dgm:cxn modelId="{1FD74145-C564-4BA2-9231-B2C2A8F3B081}" srcId="{C8CC57C0-A28C-4AB1-A7B6-97F51169B61B}" destId="{331F5040-F4FF-4E1A-A651-1F9EA763D630}" srcOrd="0" destOrd="0" parTransId="{36A391FB-94A3-421B-A78E-A3095B2DF14F}" sibTransId="{9153B360-1A1F-40EF-80A2-96C59714BC8C}"/>
    <dgm:cxn modelId="{5E2C6549-367B-4C10-8B9C-1490E426B5F4}" type="presOf" srcId="{331F5040-F4FF-4E1A-A651-1F9EA763D630}" destId="{1C3E4DE7-9863-4F5A-ACE7-1EF49E6C3EB3}" srcOrd="0" destOrd="0" presId="urn:microsoft.com/office/officeart/2005/8/layout/orgChart1"/>
    <dgm:cxn modelId="{B01F04FD-904C-4974-A574-F7385F2E594B}" type="presOf" srcId="{1422E8CA-B041-4D45-B15E-05CB42393EE8}" destId="{EE44BD33-1699-498E-AD13-3D26EF7A756D}" srcOrd="0" destOrd="0" presId="urn:microsoft.com/office/officeart/2005/8/layout/orgChart1"/>
    <dgm:cxn modelId="{8A8F693A-2170-4DB1-8BB3-F77F284322CA}" type="presOf" srcId="{6B311FB6-2EF0-42CD-8E6A-2721E48B4919}" destId="{65B367D1-B4C7-46C0-AFCD-23DC3E3D646D}" srcOrd="1" destOrd="0" presId="urn:microsoft.com/office/officeart/2005/8/layout/orgChart1"/>
    <dgm:cxn modelId="{6DDF3C7C-06D6-46F0-9884-CBD77AC68AF7}" type="presOf" srcId="{36A391FB-94A3-421B-A78E-A3095B2DF14F}" destId="{5B633D37-8164-45BC-B301-58D48A17A8D6}" srcOrd="0" destOrd="0" presId="urn:microsoft.com/office/officeart/2005/8/layout/orgChart1"/>
    <dgm:cxn modelId="{7C9A0244-1947-4A9C-ADD1-02B9289A7A08}" srcId="{6B311FB6-2EF0-42CD-8E6A-2721E48B4919}" destId="{C8CC57C0-A28C-4AB1-A7B6-97F51169B61B}" srcOrd="0" destOrd="0" parTransId="{1422E8CA-B041-4D45-B15E-05CB42393EE8}" sibTransId="{E386F8AD-811B-4BE4-9646-65E2D0C58FF3}"/>
    <dgm:cxn modelId="{8FCF4B03-73F2-45C4-B205-E19E91003DEA}" type="presOf" srcId="{6B311FB6-2EF0-42CD-8E6A-2721E48B4919}" destId="{0F38621C-8D55-471B-9F1E-D989ADE1658D}" srcOrd="0" destOrd="0" presId="urn:microsoft.com/office/officeart/2005/8/layout/orgChart1"/>
    <dgm:cxn modelId="{0E3BE853-2BD4-472F-8023-355D57DF475D}" srcId="{FCB0B711-4E81-46B3-933B-E26047AE91CC}" destId="{6B311FB6-2EF0-42CD-8E6A-2721E48B4919}" srcOrd="0" destOrd="0" parTransId="{340CF0F0-32F7-4D76-A74B-56DBB4A708D2}" sibTransId="{AD1B0A4D-7FEC-4A93-AEF3-EF5F815342F5}"/>
    <dgm:cxn modelId="{A8FC0E9C-3C07-46DE-9C4E-FAD1947830EF}" type="presOf" srcId="{331F5040-F4FF-4E1A-A651-1F9EA763D630}" destId="{E99C6A04-AE1E-4727-9A04-D39FDCE883B7}" srcOrd="1" destOrd="0" presId="urn:microsoft.com/office/officeart/2005/8/layout/orgChart1"/>
    <dgm:cxn modelId="{C8E5C335-6AC3-4880-8D8A-403BA30C3E33}" type="presOf" srcId="{FCB0B711-4E81-46B3-933B-E26047AE91CC}" destId="{38C32D67-F075-43A5-9914-77632BEDCC96}" srcOrd="0" destOrd="0" presId="urn:microsoft.com/office/officeart/2005/8/layout/orgChart1"/>
    <dgm:cxn modelId="{02D68FCD-7AE8-4F6E-B836-CF4D1B6B0FDB}" type="presParOf" srcId="{38C32D67-F075-43A5-9914-77632BEDCC96}" destId="{C90B4E9F-327B-4453-97EC-D7C5A271DC6B}" srcOrd="0" destOrd="0" presId="urn:microsoft.com/office/officeart/2005/8/layout/orgChart1"/>
    <dgm:cxn modelId="{2CA4B806-F3EC-4619-8939-7BA04556602A}" type="presParOf" srcId="{C90B4E9F-327B-4453-97EC-D7C5A271DC6B}" destId="{B2405433-F526-42AD-80C5-D2E6569BC003}" srcOrd="0" destOrd="0" presId="urn:microsoft.com/office/officeart/2005/8/layout/orgChart1"/>
    <dgm:cxn modelId="{B2E25435-9BE5-4B25-8D74-BDDDA0979590}" type="presParOf" srcId="{B2405433-F526-42AD-80C5-D2E6569BC003}" destId="{0F38621C-8D55-471B-9F1E-D989ADE1658D}" srcOrd="0" destOrd="0" presId="urn:microsoft.com/office/officeart/2005/8/layout/orgChart1"/>
    <dgm:cxn modelId="{1BE1F69C-0EC9-4A39-9F82-1347C5C4D299}" type="presParOf" srcId="{B2405433-F526-42AD-80C5-D2E6569BC003}" destId="{65B367D1-B4C7-46C0-AFCD-23DC3E3D646D}" srcOrd="1" destOrd="0" presId="urn:microsoft.com/office/officeart/2005/8/layout/orgChart1"/>
    <dgm:cxn modelId="{9A829F9B-9821-4A91-9621-15726A50E5C7}" type="presParOf" srcId="{C90B4E9F-327B-4453-97EC-D7C5A271DC6B}" destId="{9BF68A41-34C2-43C3-ABFE-34F49CF1A412}" srcOrd="1" destOrd="0" presId="urn:microsoft.com/office/officeart/2005/8/layout/orgChart1"/>
    <dgm:cxn modelId="{8619E4EC-3110-467C-8B5E-64B37C40CAF7}" type="presParOf" srcId="{9BF68A41-34C2-43C3-ABFE-34F49CF1A412}" destId="{EE44BD33-1699-498E-AD13-3D26EF7A756D}" srcOrd="0" destOrd="0" presId="urn:microsoft.com/office/officeart/2005/8/layout/orgChart1"/>
    <dgm:cxn modelId="{42A4CC27-8B03-4281-BD36-98F855029CD2}" type="presParOf" srcId="{9BF68A41-34C2-43C3-ABFE-34F49CF1A412}" destId="{83C690A3-3195-4060-B148-51E9B13C7A15}" srcOrd="1" destOrd="0" presId="urn:microsoft.com/office/officeart/2005/8/layout/orgChart1"/>
    <dgm:cxn modelId="{47E97949-B5CB-4219-A3C3-0A4D72CFEE5B}" type="presParOf" srcId="{83C690A3-3195-4060-B148-51E9B13C7A15}" destId="{E7C21C88-1181-4CA7-82F5-7A641FAFE34F}" srcOrd="0" destOrd="0" presId="urn:microsoft.com/office/officeart/2005/8/layout/orgChart1"/>
    <dgm:cxn modelId="{22044469-931A-4EA1-A371-B28F3619D939}" type="presParOf" srcId="{E7C21C88-1181-4CA7-82F5-7A641FAFE34F}" destId="{660C3117-ECAD-486C-8984-C9D075EC5373}" srcOrd="0" destOrd="0" presId="urn:microsoft.com/office/officeart/2005/8/layout/orgChart1"/>
    <dgm:cxn modelId="{416DA117-5ACF-4484-8C53-C60FC5589D80}" type="presParOf" srcId="{E7C21C88-1181-4CA7-82F5-7A641FAFE34F}" destId="{33B6CB28-3A62-490C-B894-1AB4D415C371}" srcOrd="1" destOrd="0" presId="urn:microsoft.com/office/officeart/2005/8/layout/orgChart1"/>
    <dgm:cxn modelId="{1CB07C17-DD5D-4EA4-A75D-875F2A89DDB2}" type="presParOf" srcId="{83C690A3-3195-4060-B148-51E9B13C7A15}" destId="{A22F1229-4540-4354-B7EA-C90EB29328FD}" srcOrd="1" destOrd="0" presId="urn:microsoft.com/office/officeart/2005/8/layout/orgChart1"/>
    <dgm:cxn modelId="{4C50773E-505A-4903-9AC3-408463D4FBB2}" type="presParOf" srcId="{A22F1229-4540-4354-B7EA-C90EB29328FD}" destId="{5B633D37-8164-45BC-B301-58D48A17A8D6}" srcOrd="0" destOrd="0" presId="urn:microsoft.com/office/officeart/2005/8/layout/orgChart1"/>
    <dgm:cxn modelId="{E14851A9-F70C-4403-9BB4-50EFF0AAA84A}" type="presParOf" srcId="{A22F1229-4540-4354-B7EA-C90EB29328FD}" destId="{0E38470C-1483-4BB5-940C-1F1CCE2A17E9}" srcOrd="1" destOrd="0" presId="urn:microsoft.com/office/officeart/2005/8/layout/orgChart1"/>
    <dgm:cxn modelId="{43A03620-7DAF-416E-B7FE-13A37D28038A}" type="presParOf" srcId="{0E38470C-1483-4BB5-940C-1F1CCE2A17E9}" destId="{F6E73870-2D34-4399-BC1E-CF28413B3F7F}" srcOrd="0" destOrd="0" presId="urn:microsoft.com/office/officeart/2005/8/layout/orgChart1"/>
    <dgm:cxn modelId="{C6DA6638-C4AA-4B63-96A0-896FE8867862}" type="presParOf" srcId="{F6E73870-2D34-4399-BC1E-CF28413B3F7F}" destId="{1C3E4DE7-9863-4F5A-ACE7-1EF49E6C3EB3}" srcOrd="0" destOrd="0" presId="urn:microsoft.com/office/officeart/2005/8/layout/orgChart1"/>
    <dgm:cxn modelId="{9C007394-66B2-4F87-8759-385BEB8A8758}" type="presParOf" srcId="{F6E73870-2D34-4399-BC1E-CF28413B3F7F}" destId="{E99C6A04-AE1E-4727-9A04-D39FDCE883B7}" srcOrd="1" destOrd="0" presId="urn:microsoft.com/office/officeart/2005/8/layout/orgChart1"/>
    <dgm:cxn modelId="{918C415A-B6F9-4485-8356-57D523AE1D79}" type="presParOf" srcId="{0E38470C-1483-4BB5-940C-1F1CCE2A17E9}" destId="{200572BA-6C07-459A-8BFA-38C01EE4DFE5}" srcOrd="1" destOrd="0" presId="urn:microsoft.com/office/officeart/2005/8/layout/orgChart1"/>
    <dgm:cxn modelId="{B6C3E8E5-CB89-42C6-92C9-32BBF53B61F4}" type="presParOf" srcId="{0E38470C-1483-4BB5-940C-1F1CCE2A17E9}" destId="{503DE3AF-45F3-4D9B-AA8C-6E1A289BFEA0}" srcOrd="2" destOrd="0" presId="urn:microsoft.com/office/officeart/2005/8/layout/orgChart1"/>
    <dgm:cxn modelId="{BDE53C3A-7B7F-44D1-BA4F-C3C070BCCA9D}" type="presParOf" srcId="{83C690A3-3195-4060-B148-51E9B13C7A15}" destId="{1E34BF38-3808-4CA0-B428-50B00393EA36}" srcOrd="2" destOrd="0" presId="urn:microsoft.com/office/officeart/2005/8/layout/orgChart1"/>
    <dgm:cxn modelId="{FF563BFB-A96F-440C-8A14-2756ADAA218D}" type="presParOf" srcId="{C90B4E9F-327B-4453-97EC-D7C5A271DC6B}" destId="{49F63E9F-FCAA-4367-A577-CD038444C5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CB0B711-4E81-46B3-933B-E26047AE91C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B311FB6-2EF0-42CD-8E6A-2721E48B4919}">
      <dgm:prSet phldrT="[Texto]"/>
      <dgm:spPr/>
      <dgm:t>
        <a:bodyPr/>
        <a:lstStyle/>
        <a:p>
          <a:r>
            <a:rPr lang="es-MX" dirty="0" smtClean="0"/>
            <a:t>Gobierno </a:t>
          </a:r>
        </a:p>
        <a:p>
          <a:r>
            <a:rPr lang="es-MX" dirty="0" smtClean="0"/>
            <a:t>de Holanda</a:t>
          </a:r>
          <a:endParaRPr lang="es-CO" dirty="0"/>
        </a:p>
      </dgm:t>
    </dgm:pt>
    <dgm:pt modelId="{340CF0F0-32F7-4D76-A74B-56DBB4A708D2}" type="parTrans" cxnId="{0E3BE853-2BD4-472F-8023-355D57DF475D}">
      <dgm:prSet/>
      <dgm:spPr/>
      <dgm:t>
        <a:bodyPr/>
        <a:lstStyle/>
        <a:p>
          <a:endParaRPr lang="es-CO"/>
        </a:p>
      </dgm:t>
    </dgm:pt>
    <dgm:pt modelId="{AD1B0A4D-7FEC-4A93-AEF3-EF5F815342F5}" type="sibTrans" cxnId="{0E3BE853-2BD4-472F-8023-355D57DF475D}">
      <dgm:prSet/>
      <dgm:spPr/>
      <dgm:t>
        <a:bodyPr/>
        <a:lstStyle/>
        <a:p>
          <a:endParaRPr lang="es-CO"/>
        </a:p>
      </dgm:t>
    </dgm:pt>
    <dgm:pt modelId="{0245261F-479A-498C-81A0-39ACCDAF2493}">
      <dgm:prSet phldrT="[Texto]"/>
      <dgm:spPr/>
      <dgm:t>
        <a:bodyPr/>
        <a:lstStyle/>
        <a:p>
          <a:r>
            <a:rPr lang="es-ES" i="1" dirty="0" smtClean="0"/>
            <a:t>Autoridad Holandesa de Competencia</a:t>
          </a:r>
          <a:r>
            <a:rPr lang="es-ES" dirty="0" smtClean="0"/>
            <a:t> (</a:t>
          </a:r>
          <a:r>
            <a:rPr lang="es-ES" dirty="0" err="1" smtClean="0"/>
            <a:t>NMa</a:t>
          </a:r>
          <a:r>
            <a:rPr lang="es-ES" dirty="0" smtClean="0"/>
            <a:t>)</a:t>
          </a:r>
          <a:endParaRPr lang="es-CO" dirty="0"/>
        </a:p>
      </dgm:t>
    </dgm:pt>
    <dgm:pt modelId="{2524ED3E-98D5-4280-9996-F1547F11CC6A}" type="parTrans" cxnId="{01137729-3681-4B7B-8E76-EEB4EEB2F6EE}">
      <dgm:prSet/>
      <dgm:spPr/>
      <dgm:t>
        <a:bodyPr/>
        <a:lstStyle/>
        <a:p>
          <a:endParaRPr lang="es-CO"/>
        </a:p>
      </dgm:t>
    </dgm:pt>
    <dgm:pt modelId="{78598DF0-A974-496F-959A-7611EDF9C618}" type="sibTrans" cxnId="{01137729-3681-4B7B-8E76-EEB4EEB2F6EE}">
      <dgm:prSet/>
      <dgm:spPr/>
      <dgm:t>
        <a:bodyPr/>
        <a:lstStyle/>
        <a:p>
          <a:endParaRPr lang="es-CO"/>
        </a:p>
      </dgm:t>
    </dgm:pt>
    <dgm:pt modelId="{C8CC57C0-A28C-4AB1-A7B6-97F51169B61B}">
      <dgm:prSet/>
      <dgm:spPr/>
      <dgm:t>
        <a:bodyPr/>
        <a:lstStyle/>
        <a:p>
          <a:r>
            <a:rPr lang="es-ES" i="1" dirty="0" smtClean="0"/>
            <a:t>Oficina de Regulación de la Energía</a:t>
          </a:r>
          <a:r>
            <a:rPr lang="es-ES" dirty="0" smtClean="0"/>
            <a:t> (</a:t>
          </a:r>
          <a:r>
            <a:rPr lang="es-ES" dirty="0" err="1" smtClean="0"/>
            <a:t>Energiekamer</a:t>
          </a:r>
          <a:r>
            <a:rPr lang="es-ES" dirty="0" smtClean="0"/>
            <a:t>)</a:t>
          </a:r>
          <a:endParaRPr lang="es-CO" b="1" dirty="0"/>
        </a:p>
      </dgm:t>
    </dgm:pt>
    <dgm:pt modelId="{1422E8CA-B041-4D45-B15E-05CB42393EE8}" type="parTrans" cxnId="{7C9A0244-1947-4A9C-ADD1-02B9289A7A08}">
      <dgm:prSet/>
      <dgm:spPr/>
      <dgm:t>
        <a:bodyPr/>
        <a:lstStyle/>
        <a:p>
          <a:endParaRPr lang="es-CO"/>
        </a:p>
      </dgm:t>
    </dgm:pt>
    <dgm:pt modelId="{E386F8AD-811B-4BE4-9646-65E2D0C58FF3}" type="sibTrans" cxnId="{7C9A0244-1947-4A9C-ADD1-02B9289A7A08}">
      <dgm:prSet/>
      <dgm:spPr/>
      <dgm:t>
        <a:bodyPr/>
        <a:lstStyle/>
        <a:p>
          <a:endParaRPr lang="es-CO"/>
        </a:p>
      </dgm:t>
    </dgm:pt>
    <dgm:pt modelId="{331F5040-F4FF-4E1A-A651-1F9EA763D630}">
      <dgm:prSet/>
      <dgm:spPr/>
      <dgm:t>
        <a:bodyPr/>
        <a:lstStyle/>
        <a:p>
          <a:r>
            <a:rPr lang="es-MX" dirty="0" smtClean="0"/>
            <a:t>Aprueba el </a:t>
          </a:r>
          <a:r>
            <a:rPr lang="es-MX" b="1" dirty="0" smtClean="0"/>
            <a:t>Código de Red </a:t>
          </a:r>
          <a:endParaRPr lang="es-CO" b="1" dirty="0"/>
        </a:p>
      </dgm:t>
    </dgm:pt>
    <dgm:pt modelId="{36A391FB-94A3-421B-A78E-A3095B2DF14F}" type="parTrans" cxnId="{1FD74145-C564-4BA2-9231-B2C2A8F3B081}">
      <dgm:prSet/>
      <dgm:spPr/>
      <dgm:t>
        <a:bodyPr/>
        <a:lstStyle/>
        <a:p>
          <a:endParaRPr lang="es-CO"/>
        </a:p>
      </dgm:t>
    </dgm:pt>
    <dgm:pt modelId="{9153B360-1A1F-40EF-80A2-96C59714BC8C}" type="sibTrans" cxnId="{1FD74145-C564-4BA2-9231-B2C2A8F3B081}">
      <dgm:prSet/>
      <dgm:spPr/>
      <dgm:t>
        <a:bodyPr/>
        <a:lstStyle/>
        <a:p>
          <a:endParaRPr lang="es-CO"/>
        </a:p>
      </dgm:t>
    </dgm:pt>
    <dgm:pt modelId="{38C32D67-F075-43A5-9914-77632BEDCC96}" type="pres">
      <dgm:prSet presAssocID="{FCB0B711-4E81-46B3-933B-E26047AE91C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C90B4E9F-327B-4453-97EC-D7C5A271DC6B}" type="pres">
      <dgm:prSet presAssocID="{6B311FB6-2EF0-42CD-8E6A-2721E48B4919}" presName="hierRoot1" presStyleCnt="0">
        <dgm:presLayoutVars>
          <dgm:hierBranch val="init"/>
        </dgm:presLayoutVars>
      </dgm:prSet>
      <dgm:spPr/>
    </dgm:pt>
    <dgm:pt modelId="{B2405433-F526-42AD-80C5-D2E6569BC003}" type="pres">
      <dgm:prSet presAssocID="{6B311FB6-2EF0-42CD-8E6A-2721E48B4919}" presName="rootComposite1" presStyleCnt="0"/>
      <dgm:spPr/>
    </dgm:pt>
    <dgm:pt modelId="{0F38621C-8D55-471B-9F1E-D989ADE1658D}" type="pres">
      <dgm:prSet presAssocID="{6B311FB6-2EF0-42CD-8E6A-2721E48B491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5B367D1-B4C7-46C0-AFCD-23DC3E3D646D}" type="pres">
      <dgm:prSet presAssocID="{6B311FB6-2EF0-42CD-8E6A-2721E48B491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9BF68A41-34C2-43C3-ABFE-34F49CF1A412}" type="pres">
      <dgm:prSet presAssocID="{6B311FB6-2EF0-42CD-8E6A-2721E48B4919}" presName="hierChild2" presStyleCnt="0"/>
      <dgm:spPr/>
    </dgm:pt>
    <dgm:pt modelId="{19493E0C-3FC1-48D7-8262-C30EEB4131D1}" type="pres">
      <dgm:prSet presAssocID="{2524ED3E-98D5-4280-9996-F1547F11CC6A}" presName="Name37" presStyleLbl="parChTrans1D2" presStyleIdx="0" presStyleCnt="1"/>
      <dgm:spPr/>
      <dgm:t>
        <a:bodyPr/>
        <a:lstStyle/>
        <a:p>
          <a:endParaRPr lang="es-CO"/>
        </a:p>
      </dgm:t>
    </dgm:pt>
    <dgm:pt modelId="{D56C3F74-F11E-4422-9198-8C101126B9CD}" type="pres">
      <dgm:prSet presAssocID="{0245261F-479A-498C-81A0-39ACCDAF2493}" presName="hierRoot2" presStyleCnt="0">
        <dgm:presLayoutVars>
          <dgm:hierBranch/>
        </dgm:presLayoutVars>
      </dgm:prSet>
      <dgm:spPr/>
    </dgm:pt>
    <dgm:pt modelId="{85256B29-BC73-497E-ACD7-C5A29A5ED38B}" type="pres">
      <dgm:prSet presAssocID="{0245261F-479A-498C-81A0-39ACCDAF2493}" presName="rootComposite" presStyleCnt="0"/>
      <dgm:spPr/>
    </dgm:pt>
    <dgm:pt modelId="{CE671201-8CD8-4C39-88DE-325AEF042F9E}" type="pres">
      <dgm:prSet presAssocID="{0245261F-479A-498C-81A0-39ACCDAF2493}" presName="rootText" presStyleLbl="node2" presStyleIdx="0" presStyleCnt="1" custScaleX="11248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0AB459A-BCB4-43F5-819F-2BBE59215260}" type="pres">
      <dgm:prSet presAssocID="{0245261F-479A-498C-81A0-39ACCDAF2493}" presName="rootConnector" presStyleLbl="node2" presStyleIdx="0" presStyleCnt="1"/>
      <dgm:spPr/>
      <dgm:t>
        <a:bodyPr/>
        <a:lstStyle/>
        <a:p>
          <a:endParaRPr lang="es-CO"/>
        </a:p>
      </dgm:t>
    </dgm:pt>
    <dgm:pt modelId="{F9CABF1B-9945-4CCC-B3E1-A85E15D5AB34}" type="pres">
      <dgm:prSet presAssocID="{0245261F-479A-498C-81A0-39ACCDAF2493}" presName="hierChild4" presStyleCnt="0"/>
      <dgm:spPr/>
    </dgm:pt>
    <dgm:pt modelId="{C283ED2B-2F9D-4632-9D98-C8FC54E5CA7A}" type="pres">
      <dgm:prSet presAssocID="{1422E8CA-B041-4D45-B15E-05CB42393EE8}" presName="Name35" presStyleLbl="parChTrans1D3" presStyleIdx="0" presStyleCnt="1"/>
      <dgm:spPr/>
      <dgm:t>
        <a:bodyPr/>
        <a:lstStyle/>
        <a:p>
          <a:endParaRPr lang="es-CO"/>
        </a:p>
      </dgm:t>
    </dgm:pt>
    <dgm:pt modelId="{83C690A3-3195-4060-B148-51E9B13C7A15}" type="pres">
      <dgm:prSet presAssocID="{C8CC57C0-A28C-4AB1-A7B6-97F51169B61B}" presName="hierRoot2" presStyleCnt="0">
        <dgm:presLayoutVars>
          <dgm:hierBranch val="init"/>
        </dgm:presLayoutVars>
      </dgm:prSet>
      <dgm:spPr/>
    </dgm:pt>
    <dgm:pt modelId="{E7C21C88-1181-4CA7-82F5-7A641FAFE34F}" type="pres">
      <dgm:prSet presAssocID="{C8CC57C0-A28C-4AB1-A7B6-97F51169B61B}" presName="rootComposite" presStyleCnt="0"/>
      <dgm:spPr/>
    </dgm:pt>
    <dgm:pt modelId="{660C3117-ECAD-486C-8984-C9D075EC5373}" type="pres">
      <dgm:prSet presAssocID="{C8CC57C0-A28C-4AB1-A7B6-97F51169B61B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3B6CB28-3A62-490C-B894-1AB4D415C371}" type="pres">
      <dgm:prSet presAssocID="{C8CC57C0-A28C-4AB1-A7B6-97F51169B61B}" presName="rootConnector" presStyleLbl="node3" presStyleIdx="0" presStyleCnt="1"/>
      <dgm:spPr/>
      <dgm:t>
        <a:bodyPr/>
        <a:lstStyle/>
        <a:p>
          <a:endParaRPr lang="es-CO"/>
        </a:p>
      </dgm:t>
    </dgm:pt>
    <dgm:pt modelId="{A22F1229-4540-4354-B7EA-C90EB29328FD}" type="pres">
      <dgm:prSet presAssocID="{C8CC57C0-A28C-4AB1-A7B6-97F51169B61B}" presName="hierChild4" presStyleCnt="0"/>
      <dgm:spPr/>
    </dgm:pt>
    <dgm:pt modelId="{5B633D37-8164-45BC-B301-58D48A17A8D6}" type="pres">
      <dgm:prSet presAssocID="{36A391FB-94A3-421B-A78E-A3095B2DF14F}" presName="Name37" presStyleLbl="parChTrans1D4" presStyleIdx="0" presStyleCnt="1"/>
      <dgm:spPr/>
      <dgm:t>
        <a:bodyPr/>
        <a:lstStyle/>
        <a:p>
          <a:endParaRPr lang="es-CO"/>
        </a:p>
      </dgm:t>
    </dgm:pt>
    <dgm:pt modelId="{0E38470C-1483-4BB5-940C-1F1CCE2A17E9}" type="pres">
      <dgm:prSet presAssocID="{331F5040-F4FF-4E1A-A651-1F9EA763D630}" presName="hierRoot2" presStyleCnt="0">
        <dgm:presLayoutVars>
          <dgm:hierBranch val="init"/>
        </dgm:presLayoutVars>
      </dgm:prSet>
      <dgm:spPr/>
    </dgm:pt>
    <dgm:pt modelId="{F6E73870-2D34-4399-BC1E-CF28413B3F7F}" type="pres">
      <dgm:prSet presAssocID="{331F5040-F4FF-4E1A-A651-1F9EA763D630}" presName="rootComposite" presStyleCnt="0"/>
      <dgm:spPr/>
    </dgm:pt>
    <dgm:pt modelId="{1C3E4DE7-9863-4F5A-ACE7-1EF49E6C3EB3}" type="pres">
      <dgm:prSet presAssocID="{331F5040-F4FF-4E1A-A651-1F9EA763D630}" presName="rootText" presStyleLbl="node4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99C6A04-AE1E-4727-9A04-D39FDCE883B7}" type="pres">
      <dgm:prSet presAssocID="{331F5040-F4FF-4E1A-A651-1F9EA763D630}" presName="rootConnector" presStyleLbl="node4" presStyleIdx="0" presStyleCnt="1"/>
      <dgm:spPr/>
      <dgm:t>
        <a:bodyPr/>
        <a:lstStyle/>
        <a:p>
          <a:endParaRPr lang="es-CO"/>
        </a:p>
      </dgm:t>
    </dgm:pt>
    <dgm:pt modelId="{200572BA-6C07-459A-8BFA-38C01EE4DFE5}" type="pres">
      <dgm:prSet presAssocID="{331F5040-F4FF-4E1A-A651-1F9EA763D630}" presName="hierChild4" presStyleCnt="0"/>
      <dgm:spPr/>
    </dgm:pt>
    <dgm:pt modelId="{503DE3AF-45F3-4D9B-AA8C-6E1A289BFEA0}" type="pres">
      <dgm:prSet presAssocID="{331F5040-F4FF-4E1A-A651-1F9EA763D630}" presName="hierChild5" presStyleCnt="0"/>
      <dgm:spPr/>
    </dgm:pt>
    <dgm:pt modelId="{1E34BF38-3808-4CA0-B428-50B00393EA36}" type="pres">
      <dgm:prSet presAssocID="{C8CC57C0-A28C-4AB1-A7B6-97F51169B61B}" presName="hierChild5" presStyleCnt="0"/>
      <dgm:spPr/>
    </dgm:pt>
    <dgm:pt modelId="{B18BD3D6-522C-4CE0-8AE9-C0CE50701B33}" type="pres">
      <dgm:prSet presAssocID="{0245261F-479A-498C-81A0-39ACCDAF2493}" presName="hierChild5" presStyleCnt="0"/>
      <dgm:spPr/>
    </dgm:pt>
    <dgm:pt modelId="{49F63E9F-FCAA-4367-A577-CD038444C58B}" type="pres">
      <dgm:prSet presAssocID="{6B311FB6-2EF0-42CD-8E6A-2721E48B4919}" presName="hierChild3" presStyleCnt="0"/>
      <dgm:spPr/>
    </dgm:pt>
  </dgm:ptLst>
  <dgm:cxnLst>
    <dgm:cxn modelId="{01137729-3681-4B7B-8E76-EEB4EEB2F6EE}" srcId="{6B311FB6-2EF0-42CD-8E6A-2721E48B4919}" destId="{0245261F-479A-498C-81A0-39ACCDAF2493}" srcOrd="0" destOrd="0" parTransId="{2524ED3E-98D5-4280-9996-F1547F11CC6A}" sibTransId="{78598DF0-A974-496F-959A-7611EDF9C618}"/>
    <dgm:cxn modelId="{0E3BE853-2BD4-472F-8023-355D57DF475D}" srcId="{FCB0B711-4E81-46B3-933B-E26047AE91CC}" destId="{6B311FB6-2EF0-42CD-8E6A-2721E48B4919}" srcOrd="0" destOrd="0" parTransId="{340CF0F0-32F7-4D76-A74B-56DBB4A708D2}" sibTransId="{AD1B0A4D-7FEC-4A93-AEF3-EF5F815342F5}"/>
    <dgm:cxn modelId="{2A2C86AC-1687-4661-A2E0-C4ABC5E7C8D2}" type="presOf" srcId="{C8CC57C0-A28C-4AB1-A7B6-97F51169B61B}" destId="{33B6CB28-3A62-490C-B894-1AB4D415C371}" srcOrd="1" destOrd="0" presId="urn:microsoft.com/office/officeart/2005/8/layout/orgChart1"/>
    <dgm:cxn modelId="{A66CB999-85E6-42D8-BE9F-653DF5038845}" type="presOf" srcId="{0245261F-479A-498C-81A0-39ACCDAF2493}" destId="{CE671201-8CD8-4C39-88DE-325AEF042F9E}" srcOrd="0" destOrd="0" presId="urn:microsoft.com/office/officeart/2005/8/layout/orgChart1"/>
    <dgm:cxn modelId="{0998EC24-8F50-480E-8B2E-4BD5C962794D}" type="presOf" srcId="{2524ED3E-98D5-4280-9996-F1547F11CC6A}" destId="{19493E0C-3FC1-48D7-8262-C30EEB4131D1}" srcOrd="0" destOrd="0" presId="urn:microsoft.com/office/officeart/2005/8/layout/orgChart1"/>
    <dgm:cxn modelId="{0EE9E5D7-7ACA-4FAE-B24D-8AC5B6863112}" type="presOf" srcId="{6B311FB6-2EF0-42CD-8E6A-2721E48B4919}" destId="{0F38621C-8D55-471B-9F1E-D989ADE1658D}" srcOrd="0" destOrd="0" presId="urn:microsoft.com/office/officeart/2005/8/layout/orgChart1"/>
    <dgm:cxn modelId="{C633714C-699F-48EE-9B62-A9BD23467DD9}" type="presOf" srcId="{331F5040-F4FF-4E1A-A651-1F9EA763D630}" destId="{1C3E4DE7-9863-4F5A-ACE7-1EF49E6C3EB3}" srcOrd="0" destOrd="0" presId="urn:microsoft.com/office/officeart/2005/8/layout/orgChart1"/>
    <dgm:cxn modelId="{3D082D5E-0F8D-437C-93FC-21D8E87C79A0}" type="presOf" srcId="{C8CC57C0-A28C-4AB1-A7B6-97F51169B61B}" destId="{660C3117-ECAD-486C-8984-C9D075EC5373}" srcOrd="0" destOrd="0" presId="urn:microsoft.com/office/officeart/2005/8/layout/orgChart1"/>
    <dgm:cxn modelId="{76EFE72B-4FC4-4093-B4BE-238D27D4AFB1}" type="presOf" srcId="{36A391FB-94A3-421B-A78E-A3095B2DF14F}" destId="{5B633D37-8164-45BC-B301-58D48A17A8D6}" srcOrd="0" destOrd="0" presId="urn:microsoft.com/office/officeart/2005/8/layout/orgChart1"/>
    <dgm:cxn modelId="{57DF2D5E-27B7-483E-82C7-B44B40943EFD}" type="presOf" srcId="{1422E8CA-B041-4D45-B15E-05CB42393EE8}" destId="{C283ED2B-2F9D-4632-9D98-C8FC54E5CA7A}" srcOrd="0" destOrd="0" presId="urn:microsoft.com/office/officeart/2005/8/layout/orgChart1"/>
    <dgm:cxn modelId="{9855C4B3-186A-48AD-A85D-E94DCC3C438A}" type="presOf" srcId="{0245261F-479A-498C-81A0-39ACCDAF2493}" destId="{E0AB459A-BCB4-43F5-819F-2BBE59215260}" srcOrd="1" destOrd="0" presId="urn:microsoft.com/office/officeart/2005/8/layout/orgChart1"/>
    <dgm:cxn modelId="{22713FEA-14C3-4F64-8B4C-BEB2F420236C}" type="presOf" srcId="{6B311FB6-2EF0-42CD-8E6A-2721E48B4919}" destId="{65B367D1-B4C7-46C0-AFCD-23DC3E3D646D}" srcOrd="1" destOrd="0" presId="urn:microsoft.com/office/officeart/2005/8/layout/orgChart1"/>
    <dgm:cxn modelId="{7C9A0244-1947-4A9C-ADD1-02B9289A7A08}" srcId="{0245261F-479A-498C-81A0-39ACCDAF2493}" destId="{C8CC57C0-A28C-4AB1-A7B6-97F51169B61B}" srcOrd="0" destOrd="0" parTransId="{1422E8CA-B041-4D45-B15E-05CB42393EE8}" sibTransId="{E386F8AD-811B-4BE4-9646-65E2D0C58FF3}"/>
    <dgm:cxn modelId="{1FD74145-C564-4BA2-9231-B2C2A8F3B081}" srcId="{C8CC57C0-A28C-4AB1-A7B6-97F51169B61B}" destId="{331F5040-F4FF-4E1A-A651-1F9EA763D630}" srcOrd="0" destOrd="0" parTransId="{36A391FB-94A3-421B-A78E-A3095B2DF14F}" sibTransId="{9153B360-1A1F-40EF-80A2-96C59714BC8C}"/>
    <dgm:cxn modelId="{B3F4E863-3270-4389-B880-54D14878F75F}" type="presOf" srcId="{FCB0B711-4E81-46B3-933B-E26047AE91CC}" destId="{38C32D67-F075-43A5-9914-77632BEDCC96}" srcOrd="0" destOrd="0" presId="urn:microsoft.com/office/officeart/2005/8/layout/orgChart1"/>
    <dgm:cxn modelId="{76ACB6E6-B557-4F9E-A3D2-07589C3CA60B}" type="presOf" srcId="{331F5040-F4FF-4E1A-A651-1F9EA763D630}" destId="{E99C6A04-AE1E-4727-9A04-D39FDCE883B7}" srcOrd="1" destOrd="0" presId="urn:microsoft.com/office/officeart/2005/8/layout/orgChart1"/>
    <dgm:cxn modelId="{76A6C3ED-9481-48CB-8C34-4FAA0718CE9C}" type="presParOf" srcId="{38C32D67-F075-43A5-9914-77632BEDCC96}" destId="{C90B4E9F-327B-4453-97EC-D7C5A271DC6B}" srcOrd="0" destOrd="0" presId="urn:microsoft.com/office/officeart/2005/8/layout/orgChart1"/>
    <dgm:cxn modelId="{D51D14F6-3298-4061-B41E-1D0C6C094AAF}" type="presParOf" srcId="{C90B4E9F-327B-4453-97EC-D7C5A271DC6B}" destId="{B2405433-F526-42AD-80C5-D2E6569BC003}" srcOrd="0" destOrd="0" presId="urn:microsoft.com/office/officeart/2005/8/layout/orgChart1"/>
    <dgm:cxn modelId="{DDC39DB2-6127-4FC3-9FFE-86D5C22867C6}" type="presParOf" srcId="{B2405433-F526-42AD-80C5-D2E6569BC003}" destId="{0F38621C-8D55-471B-9F1E-D989ADE1658D}" srcOrd="0" destOrd="0" presId="urn:microsoft.com/office/officeart/2005/8/layout/orgChart1"/>
    <dgm:cxn modelId="{D63BD59C-B772-49F4-8E43-42E03CA4263D}" type="presParOf" srcId="{B2405433-F526-42AD-80C5-D2E6569BC003}" destId="{65B367D1-B4C7-46C0-AFCD-23DC3E3D646D}" srcOrd="1" destOrd="0" presId="urn:microsoft.com/office/officeart/2005/8/layout/orgChart1"/>
    <dgm:cxn modelId="{19068336-F469-4E91-93E5-DD934C8089DB}" type="presParOf" srcId="{C90B4E9F-327B-4453-97EC-D7C5A271DC6B}" destId="{9BF68A41-34C2-43C3-ABFE-34F49CF1A412}" srcOrd="1" destOrd="0" presId="urn:microsoft.com/office/officeart/2005/8/layout/orgChart1"/>
    <dgm:cxn modelId="{7D686299-45E7-4A4F-9902-5BB0C57D7CC4}" type="presParOf" srcId="{9BF68A41-34C2-43C3-ABFE-34F49CF1A412}" destId="{19493E0C-3FC1-48D7-8262-C30EEB4131D1}" srcOrd="0" destOrd="0" presId="urn:microsoft.com/office/officeart/2005/8/layout/orgChart1"/>
    <dgm:cxn modelId="{AA98972C-2A1D-4FF3-BB5B-0987EA04BC5E}" type="presParOf" srcId="{9BF68A41-34C2-43C3-ABFE-34F49CF1A412}" destId="{D56C3F74-F11E-4422-9198-8C101126B9CD}" srcOrd="1" destOrd="0" presId="urn:microsoft.com/office/officeart/2005/8/layout/orgChart1"/>
    <dgm:cxn modelId="{717081F9-33A4-421E-9F29-E495092A175E}" type="presParOf" srcId="{D56C3F74-F11E-4422-9198-8C101126B9CD}" destId="{85256B29-BC73-497E-ACD7-C5A29A5ED38B}" srcOrd="0" destOrd="0" presId="urn:microsoft.com/office/officeart/2005/8/layout/orgChart1"/>
    <dgm:cxn modelId="{BA9B740D-184F-49F1-BFF1-16C613910307}" type="presParOf" srcId="{85256B29-BC73-497E-ACD7-C5A29A5ED38B}" destId="{CE671201-8CD8-4C39-88DE-325AEF042F9E}" srcOrd="0" destOrd="0" presId="urn:microsoft.com/office/officeart/2005/8/layout/orgChart1"/>
    <dgm:cxn modelId="{E7012935-4F6D-417B-9D40-46BCB74973D3}" type="presParOf" srcId="{85256B29-BC73-497E-ACD7-C5A29A5ED38B}" destId="{E0AB459A-BCB4-43F5-819F-2BBE59215260}" srcOrd="1" destOrd="0" presId="urn:microsoft.com/office/officeart/2005/8/layout/orgChart1"/>
    <dgm:cxn modelId="{A6CE24BB-8A1D-4FE1-B341-C8788737054C}" type="presParOf" srcId="{D56C3F74-F11E-4422-9198-8C101126B9CD}" destId="{F9CABF1B-9945-4CCC-B3E1-A85E15D5AB34}" srcOrd="1" destOrd="0" presId="urn:microsoft.com/office/officeart/2005/8/layout/orgChart1"/>
    <dgm:cxn modelId="{16072609-DC12-4470-8567-E5B276CCF984}" type="presParOf" srcId="{F9CABF1B-9945-4CCC-B3E1-A85E15D5AB34}" destId="{C283ED2B-2F9D-4632-9D98-C8FC54E5CA7A}" srcOrd="0" destOrd="0" presId="urn:microsoft.com/office/officeart/2005/8/layout/orgChart1"/>
    <dgm:cxn modelId="{7DB64B8B-E65C-4267-941C-B7D7B4AB5AAA}" type="presParOf" srcId="{F9CABF1B-9945-4CCC-B3E1-A85E15D5AB34}" destId="{83C690A3-3195-4060-B148-51E9B13C7A15}" srcOrd="1" destOrd="0" presId="urn:microsoft.com/office/officeart/2005/8/layout/orgChart1"/>
    <dgm:cxn modelId="{62FCBE5A-E422-44B9-8B25-DD2E53D59C14}" type="presParOf" srcId="{83C690A3-3195-4060-B148-51E9B13C7A15}" destId="{E7C21C88-1181-4CA7-82F5-7A641FAFE34F}" srcOrd="0" destOrd="0" presId="urn:microsoft.com/office/officeart/2005/8/layout/orgChart1"/>
    <dgm:cxn modelId="{32F31503-FFE0-4F09-B3EA-EFAE86FF06D0}" type="presParOf" srcId="{E7C21C88-1181-4CA7-82F5-7A641FAFE34F}" destId="{660C3117-ECAD-486C-8984-C9D075EC5373}" srcOrd="0" destOrd="0" presId="urn:microsoft.com/office/officeart/2005/8/layout/orgChart1"/>
    <dgm:cxn modelId="{6A9D7F9C-0DB5-4EBA-9B84-178BD2D4E2F0}" type="presParOf" srcId="{E7C21C88-1181-4CA7-82F5-7A641FAFE34F}" destId="{33B6CB28-3A62-490C-B894-1AB4D415C371}" srcOrd="1" destOrd="0" presId="urn:microsoft.com/office/officeart/2005/8/layout/orgChart1"/>
    <dgm:cxn modelId="{80275F50-D4D1-49F5-9FF9-7303CB50BC47}" type="presParOf" srcId="{83C690A3-3195-4060-B148-51E9B13C7A15}" destId="{A22F1229-4540-4354-B7EA-C90EB29328FD}" srcOrd="1" destOrd="0" presId="urn:microsoft.com/office/officeart/2005/8/layout/orgChart1"/>
    <dgm:cxn modelId="{2266A122-9368-4212-B573-504E77637A6A}" type="presParOf" srcId="{A22F1229-4540-4354-B7EA-C90EB29328FD}" destId="{5B633D37-8164-45BC-B301-58D48A17A8D6}" srcOrd="0" destOrd="0" presId="urn:microsoft.com/office/officeart/2005/8/layout/orgChart1"/>
    <dgm:cxn modelId="{D1A90F43-0F9F-400A-9D29-4069B8B85C26}" type="presParOf" srcId="{A22F1229-4540-4354-B7EA-C90EB29328FD}" destId="{0E38470C-1483-4BB5-940C-1F1CCE2A17E9}" srcOrd="1" destOrd="0" presId="urn:microsoft.com/office/officeart/2005/8/layout/orgChart1"/>
    <dgm:cxn modelId="{AACD05C6-40FC-48B5-921E-A3A69D1E8DEB}" type="presParOf" srcId="{0E38470C-1483-4BB5-940C-1F1CCE2A17E9}" destId="{F6E73870-2D34-4399-BC1E-CF28413B3F7F}" srcOrd="0" destOrd="0" presId="urn:microsoft.com/office/officeart/2005/8/layout/orgChart1"/>
    <dgm:cxn modelId="{105347DD-25D5-4FBF-88FB-D2E58E6DD613}" type="presParOf" srcId="{F6E73870-2D34-4399-BC1E-CF28413B3F7F}" destId="{1C3E4DE7-9863-4F5A-ACE7-1EF49E6C3EB3}" srcOrd="0" destOrd="0" presId="urn:microsoft.com/office/officeart/2005/8/layout/orgChart1"/>
    <dgm:cxn modelId="{CD945418-52FE-4555-99B0-ECD63F215EDE}" type="presParOf" srcId="{F6E73870-2D34-4399-BC1E-CF28413B3F7F}" destId="{E99C6A04-AE1E-4727-9A04-D39FDCE883B7}" srcOrd="1" destOrd="0" presId="urn:microsoft.com/office/officeart/2005/8/layout/orgChart1"/>
    <dgm:cxn modelId="{6E4DDA8B-2781-4E7D-A1A3-D5BFBC692150}" type="presParOf" srcId="{0E38470C-1483-4BB5-940C-1F1CCE2A17E9}" destId="{200572BA-6C07-459A-8BFA-38C01EE4DFE5}" srcOrd="1" destOrd="0" presId="urn:microsoft.com/office/officeart/2005/8/layout/orgChart1"/>
    <dgm:cxn modelId="{C883CC75-0B22-44CC-A0E7-8FBB973EA8E2}" type="presParOf" srcId="{0E38470C-1483-4BB5-940C-1F1CCE2A17E9}" destId="{503DE3AF-45F3-4D9B-AA8C-6E1A289BFEA0}" srcOrd="2" destOrd="0" presId="urn:microsoft.com/office/officeart/2005/8/layout/orgChart1"/>
    <dgm:cxn modelId="{26DADC15-5E20-4FC9-BF5D-530EED5C2767}" type="presParOf" srcId="{83C690A3-3195-4060-B148-51E9B13C7A15}" destId="{1E34BF38-3808-4CA0-B428-50B00393EA36}" srcOrd="2" destOrd="0" presId="urn:microsoft.com/office/officeart/2005/8/layout/orgChart1"/>
    <dgm:cxn modelId="{347D6145-04C0-47CF-8632-DA923859EDCD}" type="presParOf" srcId="{D56C3F74-F11E-4422-9198-8C101126B9CD}" destId="{B18BD3D6-522C-4CE0-8AE9-C0CE50701B33}" srcOrd="2" destOrd="0" presId="urn:microsoft.com/office/officeart/2005/8/layout/orgChart1"/>
    <dgm:cxn modelId="{84BB6E5B-ED6D-4A36-A51F-072FD4A5E9ED}" type="presParOf" srcId="{C90B4E9F-327B-4453-97EC-D7C5A271DC6B}" destId="{49F63E9F-FCAA-4367-A577-CD038444C5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CB0B711-4E81-46B3-933B-E26047AE91CC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B311FB6-2EF0-42CD-8E6A-2721E48B4919}">
      <dgm:prSet phldrT="[Texto]"/>
      <dgm:spPr/>
      <dgm:t>
        <a:bodyPr/>
        <a:lstStyle/>
        <a:p>
          <a:r>
            <a:rPr lang="es-MX" dirty="0" smtClean="0"/>
            <a:t>Gobierno de Noruega </a:t>
          </a:r>
          <a:endParaRPr lang="es-CO" dirty="0"/>
        </a:p>
      </dgm:t>
    </dgm:pt>
    <dgm:pt modelId="{340CF0F0-32F7-4D76-A74B-56DBB4A708D2}" type="parTrans" cxnId="{0E3BE853-2BD4-472F-8023-355D57DF475D}">
      <dgm:prSet/>
      <dgm:spPr/>
      <dgm:t>
        <a:bodyPr/>
        <a:lstStyle/>
        <a:p>
          <a:endParaRPr lang="es-CO"/>
        </a:p>
      </dgm:t>
    </dgm:pt>
    <dgm:pt modelId="{AD1B0A4D-7FEC-4A93-AEF3-EF5F815342F5}" type="sibTrans" cxnId="{0E3BE853-2BD4-472F-8023-355D57DF475D}">
      <dgm:prSet/>
      <dgm:spPr/>
      <dgm:t>
        <a:bodyPr/>
        <a:lstStyle/>
        <a:p>
          <a:endParaRPr lang="es-CO"/>
        </a:p>
      </dgm:t>
    </dgm:pt>
    <dgm:pt modelId="{0245261F-479A-498C-81A0-39ACCDAF2493}">
      <dgm:prSet phldrT="[Texto]"/>
      <dgm:spPr/>
      <dgm:t>
        <a:bodyPr/>
        <a:lstStyle/>
        <a:p>
          <a:r>
            <a:rPr lang="es-CO" i="1" dirty="0" smtClean="0"/>
            <a:t>Ministerio de Petróleo y Energía	 </a:t>
          </a:r>
          <a:endParaRPr lang="es-CO" dirty="0"/>
        </a:p>
      </dgm:t>
    </dgm:pt>
    <dgm:pt modelId="{2524ED3E-98D5-4280-9996-F1547F11CC6A}" type="parTrans" cxnId="{01137729-3681-4B7B-8E76-EEB4EEB2F6EE}">
      <dgm:prSet/>
      <dgm:spPr/>
      <dgm:t>
        <a:bodyPr/>
        <a:lstStyle/>
        <a:p>
          <a:endParaRPr lang="es-CO"/>
        </a:p>
      </dgm:t>
    </dgm:pt>
    <dgm:pt modelId="{78598DF0-A974-496F-959A-7611EDF9C618}" type="sibTrans" cxnId="{01137729-3681-4B7B-8E76-EEB4EEB2F6EE}">
      <dgm:prSet/>
      <dgm:spPr/>
      <dgm:t>
        <a:bodyPr/>
        <a:lstStyle/>
        <a:p>
          <a:endParaRPr lang="es-CO"/>
        </a:p>
      </dgm:t>
    </dgm:pt>
    <dgm:pt modelId="{C8CC57C0-A28C-4AB1-A7B6-97F51169B61B}">
      <dgm:prSet/>
      <dgm:spPr/>
      <dgm:t>
        <a:bodyPr/>
        <a:lstStyle/>
        <a:p>
          <a:r>
            <a:rPr lang="es-ES" b="1" dirty="0" err="1" smtClean="0"/>
            <a:t>Norwegian</a:t>
          </a:r>
          <a:r>
            <a:rPr lang="es-ES" b="1" dirty="0" smtClean="0"/>
            <a:t> </a:t>
          </a:r>
          <a:r>
            <a:rPr lang="es-ES" b="1" dirty="0" err="1" smtClean="0"/>
            <a:t>Petroleum</a:t>
          </a:r>
          <a:r>
            <a:rPr lang="es-ES" b="1" dirty="0" smtClean="0"/>
            <a:t> </a:t>
          </a:r>
          <a:r>
            <a:rPr lang="es-ES" b="1" dirty="0" err="1" smtClean="0"/>
            <a:t>Directorate</a:t>
          </a:r>
          <a:r>
            <a:rPr lang="es-ES" b="1" dirty="0" smtClean="0"/>
            <a:t> NPD</a:t>
          </a:r>
          <a:endParaRPr lang="es-CO" b="1" dirty="0"/>
        </a:p>
      </dgm:t>
    </dgm:pt>
    <dgm:pt modelId="{1422E8CA-B041-4D45-B15E-05CB42393EE8}" type="parTrans" cxnId="{7C9A0244-1947-4A9C-ADD1-02B9289A7A08}">
      <dgm:prSet/>
      <dgm:spPr/>
      <dgm:t>
        <a:bodyPr/>
        <a:lstStyle/>
        <a:p>
          <a:endParaRPr lang="es-CO"/>
        </a:p>
      </dgm:t>
    </dgm:pt>
    <dgm:pt modelId="{E386F8AD-811B-4BE4-9646-65E2D0C58FF3}" type="sibTrans" cxnId="{7C9A0244-1947-4A9C-ADD1-02B9289A7A08}">
      <dgm:prSet/>
      <dgm:spPr/>
      <dgm:t>
        <a:bodyPr/>
        <a:lstStyle/>
        <a:p>
          <a:endParaRPr lang="es-CO"/>
        </a:p>
      </dgm:t>
    </dgm:pt>
    <dgm:pt modelId="{331F5040-F4FF-4E1A-A651-1F9EA763D630}">
      <dgm:prSet/>
      <dgm:spPr/>
      <dgm:t>
        <a:bodyPr/>
        <a:lstStyle/>
        <a:p>
          <a:r>
            <a:rPr lang="es-MX" dirty="0" smtClean="0"/>
            <a:t>Reglamento de Medición Fiscal</a:t>
          </a:r>
          <a:endParaRPr lang="es-CO" b="1" dirty="0"/>
        </a:p>
      </dgm:t>
    </dgm:pt>
    <dgm:pt modelId="{36A391FB-94A3-421B-A78E-A3095B2DF14F}" type="parTrans" cxnId="{1FD74145-C564-4BA2-9231-B2C2A8F3B081}">
      <dgm:prSet/>
      <dgm:spPr/>
      <dgm:t>
        <a:bodyPr/>
        <a:lstStyle/>
        <a:p>
          <a:endParaRPr lang="es-CO"/>
        </a:p>
      </dgm:t>
    </dgm:pt>
    <dgm:pt modelId="{9153B360-1A1F-40EF-80A2-96C59714BC8C}" type="sibTrans" cxnId="{1FD74145-C564-4BA2-9231-B2C2A8F3B081}">
      <dgm:prSet/>
      <dgm:spPr/>
      <dgm:t>
        <a:bodyPr/>
        <a:lstStyle/>
        <a:p>
          <a:endParaRPr lang="es-CO"/>
        </a:p>
      </dgm:t>
    </dgm:pt>
    <dgm:pt modelId="{38C32D67-F075-43A5-9914-77632BEDCC96}" type="pres">
      <dgm:prSet presAssocID="{FCB0B711-4E81-46B3-933B-E26047AE91C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C90B4E9F-327B-4453-97EC-D7C5A271DC6B}" type="pres">
      <dgm:prSet presAssocID="{6B311FB6-2EF0-42CD-8E6A-2721E48B4919}" presName="hierRoot1" presStyleCnt="0">
        <dgm:presLayoutVars>
          <dgm:hierBranch val="init"/>
        </dgm:presLayoutVars>
      </dgm:prSet>
      <dgm:spPr/>
    </dgm:pt>
    <dgm:pt modelId="{B2405433-F526-42AD-80C5-D2E6569BC003}" type="pres">
      <dgm:prSet presAssocID="{6B311FB6-2EF0-42CD-8E6A-2721E48B4919}" presName="rootComposite1" presStyleCnt="0"/>
      <dgm:spPr/>
    </dgm:pt>
    <dgm:pt modelId="{0F38621C-8D55-471B-9F1E-D989ADE1658D}" type="pres">
      <dgm:prSet presAssocID="{6B311FB6-2EF0-42CD-8E6A-2721E48B491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65B367D1-B4C7-46C0-AFCD-23DC3E3D646D}" type="pres">
      <dgm:prSet presAssocID="{6B311FB6-2EF0-42CD-8E6A-2721E48B4919}" presName="rootConnector1" presStyleLbl="node1" presStyleIdx="0" presStyleCnt="0"/>
      <dgm:spPr/>
      <dgm:t>
        <a:bodyPr/>
        <a:lstStyle/>
        <a:p>
          <a:endParaRPr lang="es-CO"/>
        </a:p>
      </dgm:t>
    </dgm:pt>
    <dgm:pt modelId="{9BF68A41-34C2-43C3-ABFE-34F49CF1A412}" type="pres">
      <dgm:prSet presAssocID="{6B311FB6-2EF0-42CD-8E6A-2721E48B4919}" presName="hierChild2" presStyleCnt="0"/>
      <dgm:spPr/>
    </dgm:pt>
    <dgm:pt modelId="{19493E0C-3FC1-48D7-8262-C30EEB4131D1}" type="pres">
      <dgm:prSet presAssocID="{2524ED3E-98D5-4280-9996-F1547F11CC6A}" presName="Name37" presStyleLbl="parChTrans1D2" presStyleIdx="0" presStyleCnt="1"/>
      <dgm:spPr/>
      <dgm:t>
        <a:bodyPr/>
        <a:lstStyle/>
        <a:p>
          <a:endParaRPr lang="es-CO"/>
        </a:p>
      </dgm:t>
    </dgm:pt>
    <dgm:pt modelId="{D56C3F74-F11E-4422-9198-8C101126B9CD}" type="pres">
      <dgm:prSet presAssocID="{0245261F-479A-498C-81A0-39ACCDAF2493}" presName="hierRoot2" presStyleCnt="0">
        <dgm:presLayoutVars>
          <dgm:hierBranch/>
        </dgm:presLayoutVars>
      </dgm:prSet>
      <dgm:spPr/>
    </dgm:pt>
    <dgm:pt modelId="{85256B29-BC73-497E-ACD7-C5A29A5ED38B}" type="pres">
      <dgm:prSet presAssocID="{0245261F-479A-498C-81A0-39ACCDAF2493}" presName="rootComposite" presStyleCnt="0"/>
      <dgm:spPr/>
    </dgm:pt>
    <dgm:pt modelId="{CE671201-8CD8-4C39-88DE-325AEF042F9E}" type="pres">
      <dgm:prSet presAssocID="{0245261F-479A-498C-81A0-39ACCDAF2493}" presName="rootText" presStyleLbl="node2" presStyleIdx="0" presStyleCnt="1" custScaleX="11248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0AB459A-BCB4-43F5-819F-2BBE59215260}" type="pres">
      <dgm:prSet presAssocID="{0245261F-479A-498C-81A0-39ACCDAF2493}" presName="rootConnector" presStyleLbl="node2" presStyleIdx="0" presStyleCnt="1"/>
      <dgm:spPr/>
      <dgm:t>
        <a:bodyPr/>
        <a:lstStyle/>
        <a:p>
          <a:endParaRPr lang="es-CO"/>
        </a:p>
      </dgm:t>
    </dgm:pt>
    <dgm:pt modelId="{F9CABF1B-9945-4CCC-B3E1-A85E15D5AB34}" type="pres">
      <dgm:prSet presAssocID="{0245261F-479A-498C-81A0-39ACCDAF2493}" presName="hierChild4" presStyleCnt="0"/>
      <dgm:spPr/>
    </dgm:pt>
    <dgm:pt modelId="{C283ED2B-2F9D-4632-9D98-C8FC54E5CA7A}" type="pres">
      <dgm:prSet presAssocID="{1422E8CA-B041-4D45-B15E-05CB42393EE8}" presName="Name35" presStyleLbl="parChTrans1D3" presStyleIdx="0" presStyleCnt="1"/>
      <dgm:spPr/>
      <dgm:t>
        <a:bodyPr/>
        <a:lstStyle/>
        <a:p>
          <a:endParaRPr lang="es-CO"/>
        </a:p>
      </dgm:t>
    </dgm:pt>
    <dgm:pt modelId="{83C690A3-3195-4060-B148-51E9B13C7A15}" type="pres">
      <dgm:prSet presAssocID="{C8CC57C0-A28C-4AB1-A7B6-97F51169B61B}" presName="hierRoot2" presStyleCnt="0">
        <dgm:presLayoutVars>
          <dgm:hierBranch val="init"/>
        </dgm:presLayoutVars>
      </dgm:prSet>
      <dgm:spPr/>
    </dgm:pt>
    <dgm:pt modelId="{E7C21C88-1181-4CA7-82F5-7A641FAFE34F}" type="pres">
      <dgm:prSet presAssocID="{C8CC57C0-A28C-4AB1-A7B6-97F51169B61B}" presName="rootComposite" presStyleCnt="0"/>
      <dgm:spPr/>
    </dgm:pt>
    <dgm:pt modelId="{660C3117-ECAD-486C-8984-C9D075EC5373}" type="pres">
      <dgm:prSet presAssocID="{C8CC57C0-A28C-4AB1-A7B6-97F51169B61B}" presName="rootText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3B6CB28-3A62-490C-B894-1AB4D415C371}" type="pres">
      <dgm:prSet presAssocID="{C8CC57C0-A28C-4AB1-A7B6-97F51169B61B}" presName="rootConnector" presStyleLbl="node3" presStyleIdx="0" presStyleCnt="1"/>
      <dgm:spPr/>
      <dgm:t>
        <a:bodyPr/>
        <a:lstStyle/>
        <a:p>
          <a:endParaRPr lang="es-CO"/>
        </a:p>
      </dgm:t>
    </dgm:pt>
    <dgm:pt modelId="{A22F1229-4540-4354-B7EA-C90EB29328FD}" type="pres">
      <dgm:prSet presAssocID="{C8CC57C0-A28C-4AB1-A7B6-97F51169B61B}" presName="hierChild4" presStyleCnt="0"/>
      <dgm:spPr/>
    </dgm:pt>
    <dgm:pt modelId="{5B633D37-8164-45BC-B301-58D48A17A8D6}" type="pres">
      <dgm:prSet presAssocID="{36A391FB-94A3-421B-A78E-A3095B2DF14F}" presName="Name37" presStyleLbl="parChTrans1D4" presStyleIdx="0" presStyleCnt="1"/>
      <dgm:spPr/>
      <dgm:t>
        <a:bodyPr/>
        <a:lstStyle/>
        <a:p>
          <a:endParaRPr lang="es-CO"/>
        </a:p>
      </dgm:t>
    </dgm:pt>
    <dgm:pt modelId="{0E38470C-1483-4BB5-940C-1F1CCE2A17E9}" type="pres">
      <dgm:prSet presAssocID="{331F5040-F4FF-4E1A-A651-1F9EA763D630}" presName="hierRoot2" presStyleCnt="0">
        <dgm:presLayoutVars>
          <dgm:hierBranch val="init"/>
        </dgm:presLayoutVars>
      </dgm:prSet>
      <dgm:spPr/>
    </dgm:pt>
    <dgm:pt modelId="{F6E73870-2D34-4399-BC1E-CF28413B3F7F}" type="pres">
      <dgm:prSet presAssocID="{331F5040-F4FF-4E1A-A651-1F9EA763D630}" presName="rootComposite" presStyleCnt="0"/>
      <dgm:spPr/>
    </dgm:pt>
    <dgm:pt modelId="{1C3E4DE7-9863-4F5A-ACE7-1EF49E6C3EB3}" type="pres">
      <dgm:prSet presAssocID="{331F5040-F4FF-4E1A-A651-1F9EA763D630}" presName="rootText" presStyleLbl="node4" presStyleIdx="0" presStyleCnt="1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E99C6A04-AE1E-4727-9A04-D39FDCE883B7}" type="pres">
      <dgm:prSet presAssocID="{331F5040-F4FF-4E1A-A651-1F9EA763D630}" presName="rootConnector" presStyleLbl="node4" presStyleIdx="0" presStyleCnt="1"/>
      <dgm:spPr/>
      <dgm:t>
        <a:bodyPr/>
        <a:lstStyle/>
        <a:p>
          <a:endParaRPr lang="es-CO"/>
        </a:p>
      </dgm:t>
    </dgm:pt>
    <dgm:pt modelId="{200572BA-6C07-459A-8BFA-38C01EE4DFE5}" type="pres">
      <dgm:prSet presAssocID="{331F5040-F4FF-4E1A-A651-1F9EA763D630}" presName="hierChild4" presStyleCnt="0"/>
      <dgm:spPr/>
    </dgm:pt>
    <dgm:pt modelId="{503DE3AF-45F3-4D9B-AA8C-6E1A289BFEA0}" type="pres">
      <dgm:prSet presAssocID="{331F5040-F4FF-4E1A-A651-1F9EA763D630}" presName="hierChild5" presStyleCnt="0"/>
      <dgm:spPr/>
    </dgm:pt>
    <dgm:pt modelId="{1E34BF38-3808-4CA0-B428-50B00393EA36}" type="pres">
      <dgm:prSet presAssocID="{C8CC57C0-A28C-4AB1-A7B6-97F51169B61B}" presName="hierChild5" presStyleCnt="0"/>
      <dgm:spPr/>
    </dgm:pt>
    <dgm:pt modelId="{B18BD3D6-522C-4CE0-8AE9-C0CE50701B33}" type="pres">
      <dgm:prSet presAssocID="{0245261F-479A-498C-81A0-39ACCDAF2493}" presName="hierChild5" presStyleCnt="0"/>
      <dgm:spPr/>
    </dgm:pt>
    <dgm:pt modelId="{49F63E9F-FCAA-4367-A577-CD038444C58B}" type="pres">
      <dgm:prSet presAssocID="{6B311FB6-2EF0-42CD-8E6A-2721E48B4919}" presName="hierChild3" presStyleCnt="0"/>
      <dgm:spPr/>
    </dgm:pt>
  </dgm:ptLst>
  <dgm:cxnLst>
    <dgm:cxn modelId="{DA5914E1-AFC9-42EE-9A9E-838A16C53021}" type="presOf" srcId="{2524ED3E-98D5-4280-9996-F1547F11CC6A}" destId="{19493E0C-3FC1-48D7-8262-C30EEB4131D1}" srcOrd="0" destOrd="0" presId="urn:microsoft.com/office/officeart/2005/8/layout/orgChart1"/>
    <dgm:cxn modelId="{4F05CF09-5BD4-4F44-AE9F-A421B1009073}" type="presOf" srcId="{C8CC57C0-A28C-4AB1-A7B6-97F51169B61B}" destId="{33B6CB28-3A62-490C-B894-1AB4D415C371}" srcOrd="1" destOrd="0" presId="urn:microsoft.com/office/officeart/2005/8/layout/orgChart1"/>
    <dgm:cxn modelId="{01137729-3681-4B7B-8E76-EEB4EEB2F6EE}" srcId="{6B311FB6-2EF0-42CD-8E6A-2721E48B4919}" destId="{0245261F-479A-498C-81A0-39ACCDAF2493}" srcOrd="0" destOrd="0" parTransId="{2524ED3E-98D5-4280-9996-F1547F11CC6A}" sibTransId="{78598DF0-A974-496F-959A-7611EDF9C618}"/>
    <dgm:cxn modelId="{A6FEFEE2-B16F-4EE2-A552-1936136B37DC}" type="presOf" srcId="{36A391FB-94A3-421B-A78E-A3095B2DF14F}" destId="{5B633D37-8164-45BC-B301-58D48A17A8D6}" srcOrd="0" destOrd="0" presId="urn:microsoft.com/office/officeart/2005/8/layout/orgChart1"/>
    <dgm:cxn modelId="{D57B7795-6E4E-4FAC-BC30-F2DAE203EDC9}" type="presOf" srcId="{331F5040-F4FF-4E1A-A651-1F9EA763D630}" destId="{1C3E4DE7-9863-4F5A-ACE7-1EF49E6C3EB3}" srcOrd="0" destOrd="0" presId="urn:microsoft.com/office/officeart/2005/8/layout/orgChart1"/>
    <dgm:cxn modelId="{3D62CF0A-A7E7-4246-9202-9B1760E36853}" type="presOf" srcId="{331F5040-F4FF-4E1A-A651-1F9EA763D630}" destId="{E99C6A04-AE1E-4727-9A04-D39FDCE883B7}" srcOrd="1" destOrd="0" presId="urn:microsoft.com/office/officeart/2005/8/layout/orgChart1"/>
    <dgm:cxn modelId="{84FE7594-8E28-44F8-93E4-A3E2EE662B1B}" type="presOf" srcId="{FCB0B711-4E81-46B3-933B-E26047AE91CC}" destId="{38C32D67-F075-43A5-9914-77632BEDCC96}" srcOrd="0" destOrd="0" presId="urn:microsoft.com/office/officeart/2005/8/layout/orgChart1"/>
    <dgm:cxn modelId="{DFD3FB68-0226-4A61-AD33-1FD58AE52715}" type="presOf" srcId="{0245261F-479A-498C-81A0-39ACCDAF2493}" destId="{E0AB459A-BCB4-43F5-819F-2BBE59215260}" srcOrd="1" destOrd="0" presId="urn:microsoft.com/office/officeart/2005/8/layout/orgChart1"/>
    <dgm:cxn modelId="{0E3BE853-2BD4-472F-8023-355D57DF475D}" srcId="{FCB0B711-4E81-46B3-933B-E26047AE91CC}" destId="{6B311FB6-2EF0-42CD-8E6A-2721E48B4919}" srcOrd="0" destOrd="0" parTransId="{340CF0F0-32F7-4D76-A74B-56DBB4A708D2}" sibTransId="{AD1B0A4D-7FEC-4A93-AEF3-EF5F815342F5}"/>
    <dgm:cxn modelId="{2AD561B5-C784-4001-8042-50F7CE0AFCEA}" type="presOf" srcId="{1422E8CA-B041-4D45-B15E-05CB42393EE8}" destId="{C283ED2B-2F9D-4632-9D98-C8FC54E5CA7A}" srcOrd="0" destOrd="0" presId="urn:microsoft.com/office/officeart/2005/8/layout/orgChart1"/>
    <dgm:cxn modelId="{27E8AC3E-6645-4494-B7D5-6C84CDE1F2C8}" type="presOf" srcId="{0245261F-479A-498C-81A0-39ACCDAF2493}" destId="{CE671201-8CD8-4C39-88DE-325AEF042F9E}" srcOrd="0" destOrd="0" presId="urn:microsoft.com/office/officeart/2005/8/layout/orgChart1"/>
    <dgm:cxn modelId="{1FD74145-C564-4BA2-9231-B2C2A8F3B081}" srcId="{C8CC57C0-A28C-4AB1-A7B6-97F51169B61B}" destId="{331F5040-F4FF-4E1A-A651-1F9EA763D630}" srcOrd="0" destOrd="0" parTransId="{36A391FB-94A3-421B-A78E-A3095B2DF14F}" sibTransId="{9153B360-1A1F-40EF-80A2-96C59714BC8C}"/>
    <dgm:cxn modelId="{2707B89B-853E-410D-8EFC-18C100B325C9}" type="presOf" srcId="{6B311FB6-2EF0-42CD-8E6A-2721E48B4919}" destId="{0F38621C-8D55-471B-9F1E-D989ADE1658D}" srcOrd="0" destOrd="0" presId="urn:microsoft.com/office/officeart/2005/8/layout/orgChart1"/>
    <dgm:cxn modelId="{1D3AAD8D-1C4D-434F-923E-3DCDBC996049}" type="presOf" srcId="{6B311FB6-2EF0-42CD-8E6A-2721E48B4919}" destId="{65B367D1-B4C7-46C0-AFCD-23DC3E3D646D}" srcOrd="1" destOrd="0" presId="urn:microsoft.com/office/officeart/2005/8/layout/orgChart1"/>
    <dgm:cxn modelId="{7C9A0244-1947-4A9C-ADD1-02B9289A7A08}" srcId="{0245261F-479A-498C-81A0-39ACCDAF2493}" destId="{C8CC57C0-A28C-4AB1-A7B6-97F51169B61B}" srcOrd="0" destOrd="0" parTransId="{1422E8CA-B041-4D45-B15E-05CB42393EE8}" sibTransId="{E386F8AD-811B-4BE4-9646-65E2D0C58FF3}"/>
    <dgm:cxn modelId="{9CE5BBB9-F441-4A4D-997F-7842B9BF982B}" type="presOf" srcId="{C8CC57C0-A28C-4AB1-A7B6-97F51169B61B}" destId="{660C3117-ECAD-486C-8984-C9D075EC5373}" srcOrd="0" destOrd="0" presId="urn:microsoft.com/office/officeart/2005/8/layout/orgChart1"/>
    <dgm:cxn modelId="{FD7FB61D-2C6B-4BA9-A410-BC5CBCA489B7}" type="presParOf" srcId="{38C32D67-F075-43A5-9914-77632BEDCC96}" destId="{C90B4E9F-327B-4453-97EC-D7C5A271DC6B}" srcOrd="0" destOrd="0" presId="urn:microsoft.com/office/officeart/2005/8/layout/orgChart1"/>
    <dgm:cxn modelId="{5E04A02C-035A-4B98-8B01-ACFED281F255}" type="presParOf" srcId="{C90B4E9F-327B-4453-97EC-D7C5A271DC6B}" destId="{B2405433-F526-42AD-80C5-D2E6569BC003}" srcOrd="0" destOrd="0" presId="urn:microsoft.com/office/officeart/2005/8/layout/orgChart1"/>
    <dgm:cxn modelId="{B045D874-B5C5-443E-83BA-61B196FE444E}" type="presParOf" srcId="{B2405433-F526-42AD-80C5-D2E6569BC003}" destId="{0F38621C-8D55-471B-9F1E-D989ADE1658D}" srcOrd="0" destOrd="0" presId="urn:microsoft.com/office/officeart/2005/8/layout/orgChart1"/>
    <dgm:cxn modelId="{A9E2E45E-EBD1-4656-A0DF-C9BF0DF7F7D6}" type="presParOf" srcId="{B2405433-F526-42AD-80C5-D2E6569BC003}" destId="{65B367D1-B4C7-46C0-AFCD-23DC3E3D646D}" srcOrd="1" destOrd="0" presId="urn:microsoft.com/office/officeart/2005/8/layout/orgChart1"/>
    <dgm:cxn modelId="{192160F8-0CFF-45DF-9764-D3802404936A}" type="presParOf" srcId="{C90B4E9F-327B-4453-97EC-D7C5A271DC6B}" destId="{9BF68A41-34C2-43C3-ABFE-34F49CF1A412}" srcOrd="1" destOrd="0" presId="urn:microsoft.com/office/officeart/2005/8/layout/orgChart1"/>
    <dgm:cxn modelId="{9A8D33E8-79A3-44AF-89B9-A700F407D383}" type="presParOf" srcId="{9BF68A41-34C2-43C3-ABFE-34F49CF1A412}" destId="{19493E0C-3FC1-48D7-8262-C30EEB4131D1}" srcOrd="0" destOrd="0" presId="urn:microsoft.com/office/officeart/2005/8/layout/orgChart1"/>
    <dgm:cxn modelId="{8871D7C1-EDDA-4A58-BBD7-4DAA963A131C}" type="presParOf" srcId="{9BF68A41-34C2-43C3-ABFE-34F49CF1A412}" destId="{D56C3F74-F11E-4422-9198-8C101126B9CD}" srcOrd="1" destOrd="0" presId="urn:microsoft.com/office/officeart/2005/8/layout/orgChart1"/>
    <dgm:cxn modelId="{2172CE03-BD89-42B6-8A36-FC531778759C}" type="presParOf" srcId="{D56C3F74-F11E-4422-9198-8C101126B9CD}" destId="{85256B29-BC73-497E-ACD7-C5A29A5ED38B}" srcOrd="0" destOrd="0" presId="urn:microsoft.com/office/officeart/2005/8/layout/orgChart1"/>
    <dgm:cxn modelId="{71A7E694-8F57-4F9B-A605-B32F7D5B929A}" type="presParOf" srcId="{85256B29-BC73-497E-ACD7-C5A29A5ED38B}" destId="{CE671201-8CD8-4C39-88DE-325AEF042F9E}" srcOrd="0" destOrd="0" presId="urn:microsoft.com/office/officeart/2005/8/layout/orgChart1"/>
    <dgm:cxn modelId="{C2CFDEDB-62E4-4492-8DBC-0CD4E5C21EB9}" type="presParOf" srcId="{85256B29-BC73-497E-ACD7-C5A29A5ED38B}" destId="{E0AB459A-BCB4-43F5-819F-2BBE59215260}" srcOrd="1" destOrd="0" presId="urn:microsoft.com/office/officeart/2005/8/layout/orgChart1"/>
    <dgm:cxn modelId="{267743AF-5AA7-420A-8B89-AEE0F5C24FF3}" type="presParOf" srcId="{D56C3F74-F11E-4422-9198-8C101126B9CD}" destId="{F9CABF1B-9945-4CCC-B3E1-A85E15D5AB34}" srcOrd="1" destOrd="0" presId="urn:microsoft.com/office/officeart/2005/8/layout/orgChart1"/>
    <dgm:cxn modelId="{64517CBA-2E18-4F30-83A1-0AF40D8A2592}" type="presParOf" srcId="{F9CABF1B-9945-4CCC-B3E1-A85E15D5AB34}" destId="{C283ED2B-2F9D-4632-9D98-C8FC54E5CA7A}" srcOrd="0" destOrd="0" presId="urn:microsoft.com/office/officeart/2005/8/layout/orgChart1"/>
    <dgm:cxn modelId="{FEBEBF8D-1572-4ED3-B9D0-F1E4EE8A0511}" type="presParOf" srcId="{F9CABF1B-9945-4CCC-B3E1-A85E15D5AB34}" destId="{83C690A3-3195-4060-B148-51E9B13C7A15}" srcOrd="1" destOrd="0" presId="urn:microsoft.com/office/officeart/2005/8/layout/orgChart1"/>
    <dgm:cxn modelId="{975ACD5C-D168-43BD-9582-0C7DB74CAB31}" type="presParOf" srcId="{83C690A3-3195-4060-B148-51E9B13C7A15}" destId="{E7C21C88-1181-4CA7-82F5-7A641FAFE34F}" srcOrd="0" destOrd="0" presId="urn:microsoft.com/office/officeart/2005/8/layout/orgChart1"/>
    <dgm:cxn modelId="{1B9F7F13-3EE4-4AD9-9541-957987B1A2CB}" type="presParOf" srcId="{E7C21C88-1181-4CA7-82F5-7A641FAFE34F}" destId="{660C3117-ECAD-486C-8984-C9D075EC5373}" srcOrd="0" destOrd="0" presId="urn:microsoft.com/office/officeart/2005/8/layout/orgChart1"/>
    <dgm:cxn modelId="{BFC4C233-A9BD-41BA-8577-D989F3CB461E}" type="presParOf" srcId="{E7C21C88-1181-4CA7-82F5-7A641FAFE34F}" destId="{33B6CB28-3A62-490C-B894-1AB4D415C371}" srcOrd="1" destOrd="0" presId="urn:microsoft.com/office/officeart/2005/8/layout/orgChart1"/>
    <dgm:cxn modelId="{62E3DB7E-E47C-4A54-98F6-49AA25DEC925}" type="presParOf" srcId="{83C690A3-3195-4060-B148-51E9B13C7A15}" destId="{A22F1229-4540-4354-B7EA-C90EB29328FD}" srcOrd="1" destOrd="0" presId="urn:microsoft.com/office/officeart/2005/8/layout/orgChart1"/>
    <dgm:cxn modelId="{8F10E09C-AEC7-48C3-A534-662567E2F773}" type="presParOf" srcId="{A22F1229-4540-4354-B7EA-C90EB29328FD}" destId="{5B633D37-8164-45BC-B301-58D48A17A8D6}" srcOrd="0" destOrd="0" presId="urn:microsoft.com/office/officeart/2005/8/layout/orgChart1"/>
    <dgm:cxn modelId="{AFE3CE4D-6361-4A39-8E86-329A0F0AE8C5}" type="presParOf" srcId="{A22F1229-4540-4354-B7EA-C90EB29328FD}" destId="{0E38470C-1483-4BB5-940C-1F1CCE2A17E9}" srcOrd="1" destOrd="0" presId="urn:microsoft.com/office/officeart/2005/8/layout/orgChart1"/>
    <dgm:cxn modelId="{2FFB760E-9A32-40EF-9120-EF0645DEDDF8}" type="presParOf" srcId="{0E38470C-1483-4BB5-940C-1F1CCE2A17E9}" destId="{F6E73870-2D34-4399-BC1E-CF28413B3F7F}" srcOrd="0" destOrd="0" presId="urn:microsoft.com/office/officeart/2005/8/layout/orgChart1"/>
    <dgm:cxn modelId="{FDF2B096-B4AB-4803-83E7-E02F2F9E9B27}" type="presParOf" srcId="{F6E73870-2D34-4399-BC1E-CF28413B3F7F}" destId="{1C3E4DE7-9863-4F5A-ACE7-1EF49E6C3EB3}" srcOrd="0" destOrd="0" presId="urn:microsoft.com/office/officeart/2005/8/layout/orgChart1"/>
    <dgm:cxn modelId="{0D206A01-9848-48F8-97CE-832A8D1D29A5}" type="presParOf" srcId="{F6E73870-2D34-4399-BC1E-CF28413B3F7F}" destId="{E99C6A04-AE1E-4727-9A04-D39FDCE883B7}" srcOrd="1" destOrd="0" presId="urn:microsoft.com/office/officeart/2005/8/layout/orgChart1"/>
    <dgm:cxn modelId="{DB46ADD9-A0BE-4CE2-B85D-10ABF628731F}" type="presParOf" srcId="{0E38470C-1483-4BB5-940C-1F1CCE2A17E9}" destId="{200572BA-6C07-459A-8BFA-38C01EE4DFE5}" srcOrd="1" destOrd="0" presId="urn:microsoft.com/office/officeart/2005/8/layout/orgChart1"/>
    <dgm:cxn modelId="{619B7810-0FCB-41B0-A934-6CA72EA6C397}" type="presParOf" srcId="{0E38470C-1483-4BB5-940C-1F1CCE2A17E9}" destId="{503DE3AF-45F3-4D9B-AA8C-6E1A289BFEA0}" srcOrd="2" destOrd="0" presId="urn:microsoft.com/office/officeart/2005/8/layout/orgChart1"/>
    <dgm:cxn modelId="{E1D5ECEE-A88D-402F-8F88-E0B118D6F888}" type="presParOf" srcId="{83C690A3-3195-4060-B148-51E9B13C7A15}" destId="{1E34BF38-3808-4CA0-B428-50B00393EA36}" srcOrd="2" destOrd="0" presId="urn:microsoft.com/office/officeart/2005/8/layout/orgChart1"/>
    <dgm:cxn modelId="{C9703EA7-2DE0-4B84-B594-24ECD66F3CB6}" type="presParOf" srcId="{D56C3F74-F11E-4422-9198-8C101126B9CD}" destId="{B18BD3D6-522C-4CE0-8AE9-C0CE50701B33}" srcOrd="2" destOrd="0" presId="urn:microsoft.com/office/officeart/2005/8/layout/orgChart1"/>
    <dgm:cxn modelId="{74E0026B-0DB1-4D15-8E79-812FC6F5C996}" type="presParOf" srcId="{C90B4E9F-327B-4453-97EC-D7C5A271DC6B}" destId="{49F63E9F-FCAA-4367-A577-CD038444C58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7EE05F2-62D1-4DAA-ACED-4230A54FBD2E}" type="doc">
      <dgm:prSet loTypeId="urn:microsoft.com/office/officeart/2005/8/layout/orgChart1" loCatId="hierarchy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76D657B0-B5E7-4CCD-AB4F-F98418F63A6D}">
      <dgm:prSet phldrT="[Texto]"/>
      <dgm:spPr/>
      <dgm:t>
        <a:bodyPr/>
        <a:lstStyle/>
        <a:p>
          <a:r>
            <a:rPr lang="es-MX" dirty="0" smtClean="0"/>
            <a:t>Republica Argentina</a:t>
          </a:r>
          <a:endParaRPr lang="es-CO" dirty="0"/>
        </a:p>
      </dgm:t>
    </dgm:pt>
    <dgm:pt modelId="{3E3B7CE7-0808-4B6E-B487-377CF11FD29F}" type="parTrans" cxnId="{DC4A9AF9-2D6A-4A0B-9D1A-4DB44CB6DDE7}">
      <dgm:prSet/>
      <dgm:spPr/>
      <dgm:t>
        <a:bodyPr/>
        <a:lstStyle/>
        <a:p>
          <a:endParaRPr lang="es-CO"/>
        </a:p>
      </dgm:t>
    </dgm:pt>
    <dgm:pt modelId="{B390860D-58FA-47D5-8F3A-228413F5419F}" type="sibTrans" cxnId="{DC4A9AF9-2D6A-4A0B-9D1A-4DB44CB6DDE7}">
      <dgm:prSet/>
      <dgm:spPr/>
      <dgm:t>
        <a:bodyPr/>
        <a:lstStyle/>
        <a:p>
          <a:endParaRPr lang="es-CO"/>
        </a:p>
      </dgm:t>
    </dgm:pt>
    <dgm:pt modelId="{1A0CB9DA-0DE9-4040-8775-8D326F1531DD}">
      <dgm:prSet phldrT="[Texto]"/>
      <dgm:spPr/>
      <dgm:t>
        <a:bodyPr/>
        <a:lstStyle/>
        <a:p>
          <a:r>
            <a:rPr lang="es-MX" dirty="0" smtClean="0"/>
            <a:t>Ministerio de Planificación Federal</a:t>
          </a:r>
          <a:endParaRPr lang="es-CO" dirty="0"/>
        </a:p>
      </dgm:t>
    </dgm:pt>
    <dgm:pt modelId="{8E3AF61F-2C97-4FA8-A1B7-2495679F91F8}" type="parTrans" cxnId="{0D73AA6A-4B5F-44BF-AA4F-F4B3D1F78B95}">
      <dgm:prSet/>
      <dgm:spPr/>
      <dgm:t>
        <a:bodyPr/>
        <a:lstStyle/>
        <a:p>
          <a:endParaRPr lang="es-CO"/>
        </a:p>
      </dgm:t>
    </dgm:pt>
    <dgm:pt modelId="{EF7D02BB-ECD8-404F-877A-B555FA06952E}" type="sibTrans" cxnId="{0D73AA6A-4B5F-44BF-AA4F-F4B3D1F78B95}">
      <dgm:prSet/>
      <dgm:spPr/>
      <dgm:t>
        <a:bodyPr/>
        <a:lstStyle/>
        <a:p>
          <a:endParaRPr lang="es-CO"/>
        </a:p>
      </dgm:t>
    </dgm:pt>
    <dgm:pt modelId="{90430B94-F4C0-46A1-8198-6D51FC8EDA9F}">
      <dgm:prSet phldrT="[Texto]"/>
      <dgm:spPr/>
      <dgm:t>
        <a:bodyPr/>
        <a:lstStyle/>
        <a:p>
          <a:r>
            <a:rPr lang="es-MX" dirty="0" smtClean="0"/>
            <a:t>Ministerio de Economía y Finanzas Publicas</a:t>
          </a:r>
          <a:endParaRPr lang="es-CO" dirty="0"/>
        </a:p>
      </dgm:t>
    </dgm:pt>
    <dgm:pt modelId="{DA58AA55-C43F-4FAC-B1FD-8BFEE195E516}" type="parTrans" cxnId="{296A2BEB-E5DB-4A3E-9F32-61212DC60151}">
      <dgm:prSet/>
      <dgm:spPr/>
      <dgm:t>
        <a:bodyPr/>
        <a:lstStyle/>
        <a:p>
          <a:endParaRPr lang="es-CO"/>
        </a:p>
      </dgm:t>
    </dgm:pt>
    <dgm:pt modelId="{D1E3128E-EB48-46F2-B690-76C633F6C490}" type="sibTrans" cxnId="{296A2BEB-E5DB-4A3E-9F32-61212DC60151}">
      <dgm:prSet/>
      <dgm:spPr/>
      <dgm:t>
        <a:bodyPr/>
        <a:lstStyle/>
        <a:p>
          <a:endParaRPr lang="es-CO"/>
        </a:p>
      </dgm:t>
    </dgm:pt>
    <dgm:pt modelId="{15FA491B-F2EB-4D5A-BB45-2D960222B846}">
      <dgm:prSet/>
      <dgm:spPr/>
      <dgm:t>
        <a:bodyPr/>
        <a:lstStyle/>
        <a:p>
          <a:r>
            <a:rPr lang="es-MX" dirty="0" smtClean="0"/>
            <a:t>Ente Regulador de Gas -ENARGAS</a:t>
          </a:r>
          <a:endParaRPr lang="es-CO" dirty="0"/>
        </a:p>
      </dgm:t>
    </dgm:pt>
    <dgm:pt modelId="{CBB74B0F-0EF0-4019-A003-6993FCF72850}" type="parTrans" cxnId="{0E2C421A-3792-4AE9-B8C7-A88EBD29AAC0}">
      <dgm:prSet/>
      <dgm:spPr/>
      <dgm:t>
        <a:bodyPr/>
        <a:lstStyle/>
        <a:p>
          <a:endParaRPr lang="es-CO"/>
        </a:p>
      </dgm:t>
    </dgm:pt>
    <dgm:pt modelId="{F05F5AF2-629B-48C5-A8B3-BFDA0797244D}" type="sibTrans" cxnId="{0E2C421A-3792-4AE9-B8C7-A88EBD29AAC0}">
      <dgm:prSet/>
      <dgm:spPr/>
      <dgm:t>
        <a:bodyPr/>
        <a:lstStyle/>
        <a:p>
          <a:endParaRPr lang="es-CO"/>
        </a:p>
      </dgm:t>
    </dgm:pt>
    <dgm:pt modelId="{15D4AF62-DBBE-4FBF-A066-8AA0A4728CD7}">
      <dgm:prSet/>
      <dgm:spPr/>
      <dgm:t>
        <a:bodyPr/>
        <a:lstStyle/>
        <a:p>
          <a:r>
            <a:rPr lang="es-MX" dirty="0" smtClean="0"/>
            <a:t>Secretaria de Comercio Interior</a:t>
          </a:r>
          <a:endParaRPr lang="es-CO" dirty="0"/>
        </a:p>
      </dgm:t>
    </dgm:pt>
    <dgm:pt modelId="{6BFDC74D-5521-4FBA-B056-91617BD3557A}" type="parTrans" cxnId="{43924D06-6DDE-4B1E-8185-833D2A7C9957}">
      <dgm:prSet/>
      <dgm:spPr/>
      <dgm:t>
        <a:bodyPr/>
        <a:lstStyle/>
        <a:p>
          <a:endParaRPr lang="es-CO"/>
        </a:p>
      </dgm:t>
    </dgm:pt>
    <dgm:pt modelId="{7094848C-57CC-4A04-BCBF-BC0F17FADA76}" type="sibTrans" cxnId="{43924D06-6DDE-4B1E-8185-833D2A7C9957}">
      <dgm:prSet/>
      <dgm:spPr/>
      <dgm:t>
        <a:bodyPr/>
        <a:lstStyle/>
        <a:p>
          <a:endParaRPr lang="es-CO"/>
        </a:p>
      </dgm:t>
    </dgm:pt>
    <dgm:pt modelId="{9FDB1D43-BE1F-46CC-82E4-827FE4A317EC}">
      <dgm:prSet/>
      <dgm:spPr/>
      <dgm:t>
        <a:bodyPr/>
        <a:lstStyle/>
        <a:p>
          <a:r>
            <a:rPr lang="es-MX" dirty="0" smtClean="0"/>
            <a:t>Ministerio de Industria</a:t>
          </a:r>
          <a:endParaRPr lang="es-CO" dirty="0"/>
        </a:p>
      </dgm:t>
    </dgm:pt>
    <dgm:pt modelId="{FFAFE66E-0DDB-4556-9045-559009D285ED}" type="parTrans" cxnId="{F2147744-5E12-4709-98F6-4E7DE111E0B6}">
      <dgm:prSet/>
      <dgm:spPr/>
      <dgm:t>
        <a:bodyPr/>
        <a:lstStyle/>
        <a:p>
          <a:endParaRPr lang="es-CO"/>
        </a:p>
      </dgm:t>
    </dgm:pt>
    <dgm:pt modelId="{E8E3E0AC-EA2B-4217-900E-B444C966FBA7}" type="sibTrans" cxnId="{F2147744-5E12-4709-98F6-4E7DE111E0B6}">
      <dgm:prSet/>
      <dgm:spPr/>
      <dgm:t>
        <a:bodyPr/>
        <a:lstStyle/>
        <a:p>
          <a:endParaRPr lang="es-CO"/>
        </a:p>
      </dgm:t>
    </dgm:pt>
    <dgm:pt modelId="{5F07C43A-5D59-4DC1-9147-A1E883A8C93C}">
      <dgm:prSet/>
      <dgm:spPr/>
      <dgm:t>
        <a:bodyPr/>
        <a:lstStyle/>
        <a:p>
          <a:r>
            <a:rPr lang="es-MX" dirty="0" smtClean="0"/>
            <a:t>Instituto Nacional de Tecnología Industrial</a:t>
          </a:r>
          <a:endParaRPr lang="es-CO" dirty="0"/>
        </a:p>
      </dgm:t>
    </dgm:pt>
    <dgm:pt modelId="{D8F2C740-50BC-494A-831F-631CD06CF2AA}" type="parTrans" cxnId="{B1D0FDE0-27FC-42C7-B2C8-8E9E3B4106CF}">
      <dgm:prSet/>
      <dgm:spPr/>
      <dgm:t>
        <a:bodyPr/>
        <a:lstStyle/>
        <a:p>
          <a:endParaRPr lang="es-CO"/>
        </a:p>
      </dgm:t>
    </dgm:pt>
    <dgm:pt modelId="{416F1079-1450-4385-8889-0536E5D30376}" type="sibTrans" cxnId="{B1D0FDE0-27FC-42C7-B2C8-8E9E3B4106CF}">
      <dgm:prSet/>
      <dgm:spPr/>
      <dgm:t>
        <a:bodyPr/>
        <a:lstStyle/>
        <a:p>
          <a:endParaRPr lang="es-CO"/>
        </a:p>
      </dgm:t>
    </dgm:pt>
    <dgm:pt modelId="{128FD409-0E5B-4359-9D88-8C52DB485389}">
      <dgm:prSet custT="1"/>
      <dgm:spPr/>
      <dgm:t>
        <a:bodyPr/>
        <a:lstStyle/>
        <a:p>
          <a:r>
            <a:rPr lang="es-MX" sz="1800" b="1" dirty="0" smtClean="0"/>
            <a:t>Reglamento técnico y metrológico para los sistemas de medición de gas natural con medidor ultrasónico</a:t>
          </a:r>
          <a:r>
            <a:rPr lang="es-MX" sz="1600" dirty="0" smtClean="0"/>
            <a:t> </a:t>
          </a:r>
          <a:endParaRPr lang="es-CO" sz="1600" dirty="0"/>
        </a:p>
      </dgm:t>
    </dgm:pt>
    <dgm:pt modelId="{AA5F48EC-53D6-4155-9BAE-B1ABA33904A5}" type="parTrans" cxnId="{D2860419-FDB8-4255-BA1F-E0175FA9CA0A}">
      <dgm:prSet/>
      <dgm:spPr/>
      <dgm:t>
        <a:bodyPr/>
        <a:lstStyle/>
        <a:p>
          <a:endParaRPr lang="es-CO"/>
        </a:p>
      </dgm:t>
    </dgm:pt>
    <dgm:pt modelId="{D4321479-77DB-4884-B985-A5C8CE486F90}" type="sibTrans" cxnId="{D2860419-FDB8-4255-BA1F-E0175FA9CA0A}">
      <dgm:prSet/>
      <dgm:spPr/>
      <dgm:t>
        <a:bodyPr/>
        <a:lstStyle/>
        <a:p>
          <a:endParaRPr lang="es-CO"/>
        </a:p>
      </dgm:t>
    </dgm:pt>
    <dgm:pt modelId="{FA55C950-A43F-4B20-94E8-E05F8E3E9CAE}" type="pres">
      <dgm:prSet presAssocID="{C7EE05F2-62D1-4DAA-ACED-4230A54FBD2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02793832-A8AE-46E0-98D6-C6D1F4946514}" type="pres">
      <dgm:prSet presAssocID="{76D657B0-B5E7-4CCD-AB4F-F98418F63A6D}" presName="hierRoot1" presStyleCnt="0">
        <dgm:presLayoutVars>
          <dgm:hierBranch val="init"/>
        </dgm:presLayoutVars>
      </dgm:prSet>
      <dgm:spPr/>
    </dgm:pt>
    <dgm:pt modelId="{342373DF-6F5B-4473-927C-A45B7FB33E0E}" type="pres">
      <dgm:prSet presAssocID="{76D657B0-B5E7-4CCD-AB4F-F98418F63A6D}" presName="rootComposite1" presStyleCnt="0"/>
      <dgm:spPr/>
    </dgm:pt>
    <dgm:pt modelId="{B3008BF6-678D-4336-8B0B-1703769FC5B1}" type="pres">
      <dgm:prSet presAssocID="{76D657B0-B5E7-4CCD-AB4F-F98418F63A6D}" presName="rootText1" presStyleLbl="node0" presStyleIdx="0" presStyleCnt="1" custScaleX="122048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0B4D62B9-B70B-4BDC-A6D2-6163B10CDDC0}" type="pres">
      <dgm:prSet presAssocID="{76D657B0-B5E7-4CCD-AB4F-F98418F63A6D}" presName="rootConnector1" presStyleLbl="node1" presStyleIdx="0" presStyleCnt="0"/>
      <dgm:spPr/>
      <dgm:t>
        <a:bodyPr/>
        <a:lstStyle/>
        <a:p>
          <a:endParaRPr lang="es-CO"/>
        </a:p>
      </dgm:t>
    </dgm:pt>
    <dgm:pt modelId="{727ED5CB-41B3-4EAA-ADE3-26D56A267E14}" type="pres">
      <dgm:prSet presAssocID="{76D657B0-B5E7-4CCD-AB4F-F98418F63A6D}" presName="hierChild2" presStyleCnt="0"/>
      <dgm:spPr/>
    </dgm:pt>
    <dgm:pt modelId="{51235BE2-FF4C-46FB-A16B-35E40F9B6AB5}" type="pres">
      <dgm:prSet presAssocID="{8E3AF61F-2C97-4FA8-A1B7-2495679F91F8}" presName="Name37" presStyleLbl="parChTrans1D2" presStyleIdx="0" presStyleCnt="3"/>
      <dgm:spPr/>
      <dgm:t>
        <a:bodyPr/>
        <a:lstStyle/>
        <a:p>
          <a:endParaRPr lang="es-CO"/>
        </a:p>
      </dgm:t>
    </dgm:pt>
    <dgm:pt modelId="{83E101B4-A442-42B0-AADA-1D49123DF1B1}" type="pres">
      <dgm:prSet presAssocID="{1A0CB9DA-0DE9-4040-8775-8D326F1531DD}" presName="hierRoot2" presStyleCnt="0">
        <dgm:presLayoutVars>
          <dgm:hierBranch/>
        </dgm:presLayoutVars>
      </dgm:prSet>
      <dgm:spPr/>
    </dgm:pt>
    <dgm:pt modelId="{71D0A46C-E9C8-4B9C-94A4-B02607C888D0}" type="pres">
      <dgm:prSet presAssocID="{1A0CB9DA-0DE9-4040-8775-8D326F1531DD}" presName="rootComposite" presStyleCnt="0"/>
      <dgm:spPr/>
    </dgm:pt>
    <dgm:pt modelId="{7520F520-47E6-49DC-9F1E-F02F76B3B6B0}" type="pres">
      <dgm:prSet presAssocID="{1A0CB9DA-0DE9-4040-8775-8D326F1531DD}" presName="rootText" presStyleLbl="node2" presStyleIdx="0" presStyleCnt="3" custLinFactNeighborX="-3386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6FF308D-AFFA-41FA-89E2-8C55323BF2D8}" type="pres">
      <dgm:prSet presAssocID="{1A0CB9DA-0DE9-4040-8775-8D326F1531DD}" presName="rootConnector" presStyleLbl="node2" presStyleIdx="0" presStyleCnt="3"/>
      <dgm:spPr/>
      <dgm:t>
        <a:bodyPr/>
        <a:lstStyle/>
        <a:p>
          <a:endParaRPr lang="es-CO"/>
        </a:p>
      </dgm:t>
    </dgm:pt>
    <dgm:pt modelId="{BE13367F-EA9C-47FD-B2C6-DD91A408B302}" type="pres">
      <dgm:prSet presAssocID="{1A0CB9DA-0DE9-4040-8775-8D326F1531DD}" presName="hierChild4" presStyleCnt="0"/>
      <dgm:spPr/>
    </dgm:pt>
    <dgm:pt modelId="{3684E2D5-F804-4251-AE3F-89CCE61929ED}" type="pres">
      <dgm:prSet presAssocID="{CBB74B0F-0EF0-4019-A003-6993FCF72850}" presName="Name35" presStyleLbl="parChTrans1D3" presStyleIdx="0" presStyleCnt="3"/>
      <dgm:spPr/>
      <dgm:t>
        <a:bodyPr/>
        <a:lstStyle/>
        <a:p>
          <a:endParaRPr lang="es-CO"/>
        </a:p>
      </dgm:t>
    </dgm:pt>
    <dgm:pt modelId="{182DB27C-18F5-43EE-A717-A7ED438EE630}" type="pres">
      <dgm:prSet presAssocID="{15FA491B-F2EB-4D5A-BB45-2D960222B846}" presName="hierRoot2" presStyleCnt="0">
        <dgm:presLayoutVars>
          <dgm:hierBranch val="init"/>
        </dgm:presLayoutVars>
      </dgm:prSet>
      <dgm:spPr/>
    </dgm:pt>
    <dgm:pt modelId="{78E50F39-5CE9-4891-80CE-D6C24E47FD0B}" type="pres">
      <dgm:prSet presAssocID="{15FA491B-F2EB-4D5A-BB45-2D960222B846}" presName="rootComposite" presStyleCnt="0"/>
      <dgm:spPr/>
    </dgm:pt>
    <dgm:pt modelId="{AE634613-643C-43E7-98DE-D23239DF7C52}" type="pres">
      <dgm:prSet presAssocID="{15FA491B-F2EB-4D5A-BB45-2D960222B846}" presName="rootText" presStyleLbl="node3" presStyleIdx="0" presStyleCnt="3" custLinFactNeighborX="-33866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89111CDB-E01C-44D2-A827-96E4B984E40E}" type="pres">
      <dgm:prSet presAssocID="{15FA491B-F2EB-4D5A-BB45-2D960222B846}" presName="rootConnector" presStyleLbl="node3" presStyleIdx="0" presStyleCnt="3"/>
      <dgm:spPr/>
      <dgm:t>
        <a:bodyPr/>
        <a:lstStyle/>
        <a:p>
          <a:endParaRPr lang="es-CO"/>
        </a:p>
      </dgm:t>
    </dgm:pt>
    <dgm:pt modelId="{74687FC4-4271-4146-A512-C558A221E7D2}" type="pres">
      <dgm:prSet presAssocID="{15FA491B-F2EB-4D5A-BB45-2D960222B846}" presName="hierChild4" presStyleCnt="0"/>
      <dgm:spPr/>
    </dgm:pt>
    <dgm:pt modelId="{DCEB14AE-0AD4-4AA6-B15F-25489FC4FFBB}" type="pres">
      <dgm:prSet presAssocID="{15FA491B-F2EB-4D5A-BB45-2D960222B846}" presName="hierChild5" presStyleCnt="0"/>
      <dgm:spPr/>
    </dgm:pt>
    <dgm:pt modelId="{D3397797-0943-450F-A130-29BF6CE8E9EA}" type="pres">
      <dgm:prSet presAssocID="{1A0CB9DA-0DE9-4040-8775-8D326F1531DD}" presName="hierChild5" presStyleCnt="0"/>
      <dgm:spPr/>
    </dgm:pt>
    <dgm:pt modelId="{E94ECDAF-C393-42CD-B911-E78A05A2B9B5}" type="pres">
      <dgm:prSet presAssocID="{DA58AA55-C43F-4FAC-B1FD-8BFEE195E516}" presName="Name37" presStyleLbl="parChTrans1D2" presStyleIdx="1" presStyleCnt="3"/>
      <dgm:spPr/>
      <dgm:t>
        <a:bodyPr/>
        <a:lstStyle/>
        <a:p>
          <a:endParaRPr lang="es-CO"/>
        </a:p>
      </dgm:t>
    </dgm:pt>
    <dgm:pt modelId="{D5DC6A25-D75C-48E9-B161-DEC79BBFD60B}" type="pres">
      <dgm:prSet presAssocID="{90430B94-F4C0-46A1-8198-6D51FC8EDA9F}" presName="hierRoot2" presStyleCnt="0">
        <dgm:presLayoutVars>
          <dgm:hierBranch/>
        </dgm:presLayoutVars>
      </dgm:prSet>
      <dgm:spPr/>
    </dgm:pt>
    <dgm:pt modelId="{A63F967A-130A-4C59-BCC3-B97C4D6E94E5}" type="pres">
      <dgm:prSet presAssocID="{90430B94-F4C0-46A1-8198-6D51FC8EDA9F}" presName="rootComposite" presStyleCnt="0"/>
      <dgm:spPr/>
    </dgm:pt>
    <dgm:pt modelId="{BF864085-F85F-43AF-BB36-879AC81C756A}" type="pres">
      <dgm:prSet presAssocID="{90430B94-F4C0-46A1-8198-6D51FC8EDA9F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AF0E2EC-2DE1-41C0-94EF-8889DBA1B783}" type="pres">
      <dgm:prSet presAssocID="{90430B94-F4C0-46A1-8198-6D51FC8EDA9F}" presName="rootConnector" presStyleLbl="node2" presStyleIdx="1" presStyleCnt="3"/>
      <dgm:spPr/>
      <dgm:t>
        <a:bodyPr/>
        <a:lstStyle/>
        <a:p>
          <a:endParaRPr lang="es-CO"/>
        </a:p>
      </dgm:t>
    </dgm:pt>
    <dgm:pt modelId="{03B28C38-37DA-421C-B766-A0543E3CE45E}" type="pres">
      <dgm:prSet presAssocID="{90430B94-F4C0-46A1-8198-6D51FC8EDA9F}" presName="hierChild4" presStyleCnt="0"/>
      <dgm:spPr/>
    </dgm:pt>
    <dgm:pt modelId="{2B2407E8-2D95-4096-8CC6-176FFAECC470}" type="pres">
      <dgm:prSet presAssocID="{6BFDC74D-5521-4FBA-B056-91617BD3557A}" presName="Name35" presStyleLbl="parChTrans1D3" presStyleIdx="1" presStyleCnt="3"/>
      <dgm:spPr/>
      <dgm:t>
        <a:bodyPr/>
        <a:lstStyle/>
        <a:p>
          <a:endParaRPr lang="es-CO"/>
        </a:p>
      </dgm:t>
    </dgm:pt>
    <dgm:pt modelId="{75E115E0-3313-47F8-9C29-AB64774DC5C9}" type="pres">
      <dgm:prSet presAssocID="{15D4AF62-DBBE-4FBF-A066-8AA0A4728CD7}" presName="hierRoot2" presStyleCnt="0">
        <dgm:presLayoutVars>
          <dgm:hierBranch/>
        </dgm:presLayoutVars>
      </dgm:prSet>
      <dgm:spPr/>
    </dgm:pt>
    <dgm:pt modelId="{48F20520-A8FC-479B-BF6D-8E8FC148292A}" type="pres">
      <dgm:prSet presAssocID="{15D4AF62-DBBE-4FBF-A066-8AA0A4728CD7}" presName="rootComposite" presStyleCnt="0"/>
      <dgm:spPr/>
    </dgm:pt>
    <dgm:pt modelId="{CAC7FC24-8762-4264-927D-335C827572E5}" type="pres">
      <dgm:prSet presAssocID="{15D4AF62-DBBE-4FBF-A066-8AA0A4728CD7}" presName="rootText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7368296A-16D9-4082-B5B1-80D5AF5F28C5}" type="pres">
      <dgm:prSet presAssocID="{15D4AF62-DBBE-4FBF-A066-8AA0A4728CD7}" presName="rootConnector" presStyleLbl="node3" presStyleIdx="1" presStyleCnt="3"/>
      <dgm:spPr/>
      <dgm:t>
        <a:bodyPr/>
        <a:lstStyle/>
        <a:p>
          <a:endParaRPr lang="es-CO"/>
        </a:p>
      </dgm:t>
    </dgm:pt>
    <dgm:pt modelId="{4DEBD9A6-2BC3-43BB-A0D9-DA9E0FDA054E}" type="pres">
      <dgm:prSet presAssocID="{15D4AF62-DBBE-4FBF-A066-8AA0A4728CD7}" presName="hierChild4" presStyleCnt="0"/>
      <dgm:spPr/>
    </dgm:pt>
    <dgm:pt modelId="{BBE39514-A96E-44E7-841A-624BD7415BB2}" type="pres">
      <dgm:prSet presAssocID="{AA5F48EC-53D6-4155-9BAE-B1ABA33904A5}" presName="Name35" presStyleLbl="parChTrans1D4" presStyleIdx="0" presStyleCnt="1"/>
      <dgm:spPr/>
      <dgm:t>
        <a:bodyPr/>
        <a:lstStyle/>
        <a:p>
          <a:endParaRPr lang="es-CO"/>
        </a:p>
      </dgm:t>
    </dgm:pt>
    <dgm:pt modelId="{CD86C19F-970D-42D2-9B48-894D56EF5094}" type="pres">
      <dgm:prSet presAssocID="{128FD409-0E5B-4359-9D88-8C52DB485389}" presName="hierRoot2" presStyleCnt="0">
        <dgm:presLayoutVars>
          <dgm:hierBranch val="init"/>
        </dgm:presLayoutVars>
      </dgm:prSet>
      <dgm:spPr/>
    </dgm:pt>
    <dgm:pt modelId="{8DBB40AB-E853-4E4A-B917-738BDD1F3E74}" type="pres">
      <dgm:prSet presAssocID="{128FD409-0E5B-4359-9D88-8C52DB485389}" presName="rootComposite" presStyleCnt="0"/>
      <dgm:spPr/>
    </dgm:pt>
    <dgm:pt modelId="{C054E755-1D9D-4138-AD82-BA858196FC21}" type="pres">
      <dgm:prSet presAssocID="{128FD409-0E5B-4359-9D88-8C52DB485389}" presName="rootText" presStyleLbl="node4" presStyleIdx="0" presStyleCnt="1" custScaleX="332838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1774DB08-7036-4729-985A-3B7C38508EBD}" type="pres">
      <dgm:prSet presAssocID="{128FD409-0E5B-4359-9D88-8C52DB485389}" presName="rootConnector" presStyleLbl="node4" presStyleIdx="0" presStyleCnt="1"/>
      <dgm:spPr/>
      <dgm:t>
        <a:bodyPr/>
        <a:lstStyle/>
        <a:p>
          <a:endParaRPr lang="es-CO"/>
        </a:p>
      </dgm:t>
    </dgm:pt>
    <dgm:pt modelId="{4DBDB081-668F-4262-9F2F-DEEFD76162CA}" type="pres">
      <dgm:prSet presAssocID="{128FD409-0E5B-4359-9D88-8C52DB485389}" presName="hierChild4" presStyleCnt="0"/>
      <dgm:spPr/>
    </dgm:pt>
    <dgm:pt modelId="{C09E38E6-6708-4974-9650-DE9AEA1A836A}" type="pres">
      <dgm:prSet presAssocID="{128FD409-0E5B-4359-9D88-8C52DB485389}" presName="hierChild5" presStyleCnt="0"/>
      <dgm:spPr/>
    </dgm:pt>
    <dgm:pt modelId="{568D3972-8C2A-46C3-8A81-DBA6DAE5C514}" type="pres">
      <dgm:prSet presAssocID="{15D4AF62-DBBE-4FBF-A066-8AA0A4728CD7}" presName="hierChild5" presStyleCnt="0"/>
      <dgm:spPr/>
    </dgm:pt>
    <dgm:pt modelId="{2D18BE5A-2624-4562-9E05-78E3BE657917}" type="pres">
      <dgm:prSet presAssocID="{90430B94-F4C0-46A1-8198-6D51FC8EDA9F}" presName="hierChild5" presStyleCnt="0"/>
      <dgm:spPr/>
    </dgm:pt>
    <dgm:pt modelId="{47AB549A-7B92-41F7-8A1F-AC350B550FD3}" type="pres">
      <dgm:prSet presAssocID="{FFAFE66E-0DDB-4556-9045-559009D285ED}" presName="Name37" presStyleLbl="parChTrans1D2" presStyleIdx="2" presStyleCnt="3"/>
      <dgm:spPr/>
      <dgm:t>
        <a:bodyPr/>
        <a:lstStyle/>
        <a:p>
          <a:endParaRPr lang="es-CO"/>
        </a:p>
      </dgm:t>
    </dgm:pt>
    <dgm:pt modelId="{6C4A232A-8BA3-4A3A-916E-5B5249E074F0}" type="pres">
      <dgm:prSet presAssocID="{9FDB1D43-BE1F-46CC-82E4-827FE4A317EC}" presName="hierRoot2" presStyleCnt="0">
        <dgm:presLayoutVars>
          <dgm:hierBranch/>
        </dgm:presLayoutVars>
      </dgm:prSet>
      <dgm:spPr/>
    </dgm:pt>
    <dgm:pt modelId="{EB7D2D43-2A17-4D70-B3A0-185F7329C3E1}" type="pres">
      <dgm:prSet presAssocID="{9FDB1D43-BE1F-46CC-82E4-827FE4A317EC}" presName="rootComposite" presStyleCnt="0"/>
      <dgm:spPr/>
    </dgm:pt>
    <dgm:pt modelId="{7DDA9F25-0BE9-4BBB-8896-29F5300D92DC}" type="pres">
      <dgm:prSet presAssocID="{9FDB1D43-BE1F-46CC-82E4-827FE4A317EC}" presName="rootText" presStyleLbl="node2" presStyleIdx="2" presStyleCnt="3" custLinFactNeighborX="33867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89177295-29D9-47C6-98BB-34A4CAA785D3}" type="pres">
      <dgm:prSet presAssocID="{9FDB1D43-BE1F-46CC-82E4-827FE4A317EC}" presName="rootConnector" presStyleLbl="node2" presStyleIdx="2" presStyleCnt="3"/>
      <dgm:spPr/>
      <dgm:t>
        <a:bodyPr/>
        <a:lstStyle/>
        <a:p>
          <a:endParaRPr lang="es-CO"/>
        </a:p>
      </dgm:t>
    </dgm:pt>
    <dgm:pt modelId="{0C1AAC31-2E52-4D9F-B198-7073DFCB605B}" type="pres">
      <dgm:prSet presAssocID="{9FDB1D43-BE1F-46CC-82E4-827FE4A317EC}" presName="hierChild4" presStyleCnt="0"/>
      <dgm:spPr/>
    </dgm:pt>
    <dgm:pt modelId="{0C22A892-0201-47B1-A8C8-29D0873E74A0}" type="pres">
      <dgm:prSet presAssocID="{D8F2C740-50BC-494A-831F-631CD06CF2AA}" presName="Name35" presStyleLbl="parChTrans1D3" presStyleIdx="2" presStyleCnt="3"/>
      <dgm:spPr/>
      <dgm:t>
        <a:bodyPr/>
        <a:lstStyle/>
        <a:p>
          <a:endParaRPr lang="es-CO"/>
        </a:p>
      </dgm:t>
    </dgm:pt>
    <dgm:pt modelId="{50409218-B966-4750-B2A4-6B191FE320C4}" type="pres">
      <dgm:prSet presAssocID="{5F07C43A-5D59-4DC1-9147-A1E883A8C93C}" presName="hierRoot2" presStyleCnt="0">
        <dgm:presLayoutVars>
          <dgm:hierBranch val="init"/>
        </dgm:presLayoutVars>
      </dgm:prSet>
      <dgm:spPr/>
    </dgm:pt>
    <dgm:pt modelId="{A453B25C-6E9B-48AD-A5B9-33D0A6719777}" type="pres">
      <dgm:prSet presAssocID="{5F07C43A-5D59-4DC1-9147-A1E883A8C93C}" presName="rootComposite" presStyleCnt="0"/>
      <dgm:spPr/>
    </dgm:pt>
    <dgm:pt modelId="{80817413-A8C1-48BB-802C-6AED9A0392C6}" type="pres">
      <dgm:prSet presAssocID="{5F07C43A-5D59-4DC1-9147-A1E883A8C93C}" presName="rootText" presStyleLbl="node3" presStyleIdx="2" presStyleCnt="3" custLinFactNeighborX="33867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585DC83-A4FE-4E5F-BF32-4F13B0465FAD}" type="pres">
      <dgm:prSet presAssocID="{5F07C43A-5D59-4DC1-9147-A1E883A8C93C}" presName="rootConnector" presStyleLbl="node3" presStyleIdx="2" presStyleCnt="3"/>
      <dgm:spPr/>
      <dgm:t>
        <a:bodyPr/>
        <a:lstStyle/>
        <a:p>
          <a:endParaRPr lang="es-CO"/>
        </a:p>
      </dgm:t>
    </dgm:pt>
    <dgm:pt modelId="{997A61D0-5584-4410-99CD-E727BD6F90B7}" type="pres">
      <dgm:prSet presAssocID="{5F07C43A-5D59-4DC1-9147-A1E883A8C93C}" presName="hierChild4" presStyleCnt="0"/>
      <dgm:spPr/>
    </dgm:pt>
    <dgm:pt modelId="{CDE103FF-080B-45A7-9B7C-A67DB75622C4}" type="pres">
      <dgm:prSet presAssocID="{5F07C43A-5D59-4DC1-9147-A1E883A8C93C}" presName="hierChild5" presStyleCnt="0"/>
      <dgm:spPr/>
    </dgm:pt>
    <dgm:pt modelId="{7C3C4165-7C76-4641-8A35-2FC8C05CD612}" type="pres">
      <dgm:prSet presAssocID="{9FDB1D43-BE1F-46CC-82E4-827FE4A317EC}" presName="hierChild5" presStyleCnt="0"/>
      <dgm:spPr/>
    </dgm:pt>
    <dgm:pt modelId="{1BE00568-C690-4D16-89ED-E56810CAC18C}" type="pres">
      <dgm:prSet presAssocID="{76D657B0-B5E7-4CCD-AB4F-F98418F63A6D}" presName="hierChild3" presStyleCnt="0"/>
      <dgm:spPr/>
    </dgm:pt>
  </dgm:ptLst>
  <dgm:cxnLst>
    <dgm:cxn modelId="{724F5814-1E64-4389-977B-DD5BDC1C57C5}" type="presOf" srcId="{6BFDC74D-5521-4FBA-B056-91617BD3557A}" destId="{2B2407E8-2D95-4096-8CC6-176FFAECC470}" srcOrd="0" destOrd="0" presId="urn:microsoft.com/office/officeart/2005/8/layout/orgChart1"/>
    <dgm:cxn modelId="{07BF2266-BC38-4DFD-825F-73D128289A2E}" type="presOf" srcId="{15D4AF62-DBBE-4FBF-A066-8AA0A4728CD7}" destId="{CAC7FC24-8762-4264-927D-335C827572E5}" srcOrd="0" destOrd="0" presId="urn:microsoft.com/office/officeart/2005/8/layout/orgChart1"/>
    <dgm:cxn modelId="{15ED5C15-C1FC-4C2E-ABF2-2D3539AFF7D8}" type="presOf" srcId="{76D657B0-B5E7-4CCD-AB4F-F98418F63A6D}" destId="{B3008BF6-678D-4336-8B0B-1703769FC5B1}" srcOrd="0" destOrd="0" presId="urn:microsoft.com/office/officeart/2005/8/layout/orgChart1"/>
    <dgm:cxn modelId="{643018F7-1E90-4486-B8F1-0D24E7F95206}" type="presOf" srcId="{1A0CB9DA-0DE9-4040-8775-8D326F1531DD}" destId="{7520F520-47E6-49DC-9F1E-F02F76B3B6B0}" srcOrd="0" destOrd="0" presId="urn:microsoft.com/office/officeart/2005/8/layout/orgChart1"/>
    <dgm:cxn modelId="{8630E709-5642-4682-B0A4-26E08B754696}" type="presOf" srcId="{DA58AA55-C43F-4FAC-B1FD-8BFEE195E516}" destId="{E94ECDAF-C393-42CD-B911-E78A05A2B9B5}" srcOrd="0" destOrd="0" presId="urn:microsoft.com/office/officeart/2005/8/layout/orgChart1"/>
    <dgm:cxn modelId="{DC4A9AF9-2D6A-4A0B-9D1A-4DB44CB6DDE7}" srcId="{C7EE05F2-62D1-4DAA-ACED-4230A54FBD2E}" destId="{76D657B0-B5E7-4CCD-AB4F-F98418F63A6D}" srcOrd="0" destOrd="0" parTransId="{3E3B7CE7-0808-4B6E-B487-377CF11FD29F}" sibTransId="{B390860D-58FA-47D5-8F3A-228413F5419F}"/>
    <dgm:cxn modelId="{D8E43B9B-8E9E-4C28-A701-F9958AF1BE44}" type="presOf" srcId="{5F07C43A-5D59-4DC1-9147-A1E883A8C93C}" destId="{80817413-A8C1-48BB-802C-6AED9A0392C6}" srcOrd="0" destOrd="0" presId="urn:microsoft.com/office/officeart/2005/8/layout/orgChart1"/>
    <dgm:cxn modelId="{7A59F974-CECF-4F29-AEF6-10C188777C44}" type="presOf" srcId="{1A0CB9DA-0DE9-4040-8775-8D326F1531DD}" destId="{36FF308D-AFFA-41FA-89E2-8C55323BF2D8}" srcOrd="1" destOrd="0" presId="urn:microsoft.com/office/officeart/2005/8/layout/orgChart1"/>
    <dgm:cxn modelId="{B1D0FDE0-27FC-42C7-B2C8-8E9E3B4106CF}" srcId="{9FDB1D43-BE1F-46CC-82E4-827FE4A317EC}" destId="{5F07C43A-5D59-4DC1-9147-A1E883A8C93C}" srcOrd="0" destOrd="0" parTransId="{D8F2C740-50BC-494A-831F-631CD06CF2AA}" sibTransId="{416F1079-1450-4385-8889-0536E5D30376}"/>
    <dgm:cxn modelId="{D2860419-FDB8-4255-BA1F-E0175FA9CA0A}" srcId="{15D4AF62-DBBE-4FBF-A066-8AA0A4728CD7}" destId="{128FD409-0E5B-4359-9D88-8C52DB485389}" srcOrd="0" destOrd="0" parTransId="{AA5F48EC-53D6-4155-9BAE-B1ABA33904A5}" sibTransId="{D4321479-77DB-4884-B985-A5C8CE486F90}"/>
    <dgm:cxn modelId="{0E2C421A-3792-4AE9-B8C7-A88EBD29AAC0}" srcId="{1A0CB9DA-0DE9-4040-8775-8D326F1531DD}" destId="{15FA491B-F2EB-4D5A-BB45-2D960222B846}" srcOrd="0" destOrd="0" parTransId="{CBB74B0F-0EF0-4019-A003-6993FCF72850}" sibTransId="{F05F5AF2-629B-48C5-A8B3-BFDA0797244D}"/>
    <dgm:cxn modelId="{CECA3256-0994-4836-95DC-6B79EF2DAF8F}" type="presOf" srcId="{15FA491B-F2EB-4D5A-BB45-2D960222B846}" destId="{AE634613-643C-43E7-98DE-D23239DF7C52}" srcOrd="0" destOrd="0" presId="urn:microsoft.com/office/officeart/2005/8/layout/orgChart1"/>
    <dgm:cxn modelId="{9AFA08FC-6A28-46DF-9CFF-1CE0FDE8F0B2}" type="presOf" srcId="{76D657B0-B5E7-4CCD-AB4F-F98418F63A6D}" destId="{0B4D62B9-B70B-4BDC-A6D2-6163B10CDDC0}" srcOrd="1" destOrd="0" presId="urn:microsoft.com/office/officeart/2005/8/layout/orgChart1"/>
    <dgm:cxn modelId="{9203657F-0786-401D-A12C-8C31A614FD7F}" type="presOf" srcId="{9FDB1D43-BE1F-46CC-82E4-827FE4A317EC}" destId="{89177295-29D9-47C6-98BB-34A4CAA785D3}" srcOrd="1" destOrd="0" presId="urn:microsoft.com/office/officeart/2005/8/layout/orgChart1"/>
    <dgm:cxn modelId="{DF28B8D4-86DB-4D34-AC82-31F0DF6B1551}" type="presOf" srcId="{5F07C43A-5D59-4DC1-9147-A1E883A8C93C}" destId="{2585DC83-A4FE-4E5F-BF32-4F13B0465FAD}" srcOrd="1" destOrd="0" presId="urn:microsoft.com/office/officeart/2005/8/layout/orgChart1"/>
    <dgm:cxn modelId="{0B41C2E1-A8AC-4F91-9901-3B3AA1BC6BA3}" type="presOf" srcId="{128FD409-0E5B-4359-9D88-8C52DB485389}" destId="{C054E755-1D9D-4138-AD82-BA858196FC21}" srcOrd="0" destOrd="0" presId="urn:microsoft.com/office/officeart/2005/8/layout/orgChart1"/>
    <dgm:cxn modelId="{14DFCB0A-3D43-4AB0-9952-080A4D150629}" type="presOf" srcId="{D8F2C740-50BC-494A-831F-631CD06CF2AA}" destId="{0C22A892-0201-47B1-A8C8-29D0873E74A0}" srcOrd="0" destOrd="0" presId="urn:microsoft.com/office/officeart/2005/8/layout/orgChart1"/>
    <dgm:cxn modelId="{7382804E-A22E-4F67-8316-4776CB0DC592}" type="presOf" srcId="{9FDB1D43-BE1F-46CC-82E4-827FE4A317EC}" destId="{7DDA9F25-0BE9-4BBB-8896-29F5300D92DC}" srcOrd="0" destOrd="0" presId="urn:microsoft.com/office/officeart/2005/8/layout/orgChart1"/>
    <dgm:cxn modelId="{296A2BEB-E5DB-4A3E-9F32-61212DC60151}" srcId="{76D657B0-B5E7-4CCD-AB4F-F98418F63A6D}" destId="{90430B94-F4C0-46A1-8198-6D51FC8EDA9F}" srcOrd="1" destOrd="0" parTransId="{DA58AA55-C43F-4FAC-B1FD-8BFEE195E516}" sibTransId="{D1E3128E-EB48-46F2-B690-76C633F6C490}"/>
    <dgm:cxn modelId="{B351AF59-6C66-4FD6-A7F8-9E4858DEB57D}" type="presOf" srcId="{128FD409-0E5B-4359-9D88-8C52DB485389}" destId="{1774DB08-7036-4729-985A-3B7C38508EBD}" srcOrd="1" destOrd="0" presId="urn:microsoft.com/office/officeart/2005/8/layout/orgChart1"/>
    <dgm:cxn modelId="{993660B3-C014-4D9B-86F6-92F9DB20E8B7}" type="presOf" srcId="{FFAFE66E-0DDB-4556-9045-559009D285ED}" destId="{47AB549A-7B92-41F7-8A1F-AC350B550FD3}" srcOrd="0" destOrd="0" presId="urn:microsoft.com/office/officeart/2005/8/layout/orgChart1"/>
    <dgm:cxn modelId="{DD4903D5-6DD9-45E0-9C29-851889818E31}" type="presOf" srcId="{90430B94-F4C0-46A1-8198-6D51FC8EDA9F}" destId="{2AF0E2EC-2DE1-41C0-94EF-8889DBA1B783}" srcOrd="1" destOrd="0" presId="urn:microsoft.com/office/officeart/2005/8/layout/orgChart1"/>
    <dgm:cxn modelId="{F75F930E-4A35-46A2-B976-C727CE8C3CAE}" type="presOf" srcId="{15FA491B-F2EB-4D5A-BB45-2D960222B846}" destId="{89111CDB-E01C-44D2-A827-96E4B984E40E}" srcOrd="1" destOrd="0" presId="urn:microsoft.com/office/officeart/2005/8/layout/orgChart1"/>
    <dgm:cxn modelId="{D2800506-D998-4101-9C71-103F46846C31}" type="presOf" srcId="{AA5F48EC-53D6-4155-9BAE-B1ABA33904A5}" destId="{BBE39514-A96E-44E7-841A-624BD7415BB2}" srcOrd="0" destOrd="0" presId="urn:microsoft.com/office/officeart/2005/8/layout/orgChart1"/>
    <dgm:cxn modelId="{F2147744-5E12-4709-98F6-4E7DE111E0B6}" srcId="{76D657B0-B5E7-4CCD-AB4F-F98418F63A6D}" destId="{9FDB1D43-BE1F-46CC-82E4-827FE4A317EC}" srcOrd="2" destOrd="0" parTransId="{FFAFE66E-0DDB-4556-9045-559009D285ED}" sibTransId="{E8E3E0AC-EA2B-4217-900E-B444C966FBA7}"/>
    <dgm:cxn modelId="{0146D3FB-72E8-4329-8528-6D115613BFF8}" type="presOf" srcId="{90430B94-F4C0-46A1-8198-6D51FC8EDA9F}" destId="{BF864085-F85F-43AF-BB36-879AC81C756A}" srcOrd="0" destOrd="0" presId="urn:microsoft.com/office/officeart/2005/8/layout/orgChart1"/>
    <dgm:cxn modelId="{E8D00C96-307A-4CAC-8619-38C17355B879}" type="presOf" srcId="{CBB74B0F-0EF0-4019-A003-6993FCF72850}" destId="{3684E2D5-F804-4251-AE3F-89CCE61929ED}" srcOrd="0" destOrd="0" presId="urn:microsoft.com/office/officeart/2005/8/layout/orgChart1"/>
    <dgm:cxn modelId="{AD12929D-3003-4C4C-BA95-345365B1782A}" type="presOf" srcId="{15D4AF62-DBBE-4FBF-A066-8AA0A4728CD7}" destId="{7368296A-16D9-4082-B5B1-80D5AF5F28C5}" srcOrd="1" destOrd="0" presId="urn:microsoft.com/office/officeart/2005/8/layout/orgChart1"/>
    <dgm:cxn modelId="{5898DF78-3D1F-4252-9136-214FC5321E8B}" type="presOf" srcId="{C7EE05F2-62D1-4DAA-ACED-4230A54FBD2E}" destId="{FA55C950-A43F-4B20-94E8-E05F8E3E9CAE}" srcOrd="0" destOrd="0" presId="urn:microsoft.com/office/officeart/2005/8/layout/orgChart1"/>
    <dgm:cxn modelId="{43924D06-6DDE-4B1E-8185-833D2A7C9957}" srcId="{90430B94-F4C0-46A1-8198-6D51FC8EDA9F}" destId="{15D4AF62-DBBE-4FBF-A066-8AA0A4728CD7}" srcOrd="0" destOrd="0" parTransId="{6BFDC74D-5521-4FBA-B056-91617BD3557A}" sibTransId="{7094848C-57CC-4A04-BCBF-BC0F17FADA76}"/>
    <dgm:cxn modelId="{3D30BD8B-FA39-4E17-A6CE-DB28BBF2F931}" type="presOf" srcId="{8E3AF61F-2C97-4FA8-A1B7-2495679F91F8}" destId="{51235BE2-FF4C-46FB-A16B-35E40F9B6AB5}" srcOrd="0" destOrd="0" presId="urn:microsoft.com/office/officeart/2005/8/layout/orgChart1"/>
    <dgm:cxn modelId="{0D73AA6A-4B5F-44BF-AA4F-F4B3D1F78B95}" srcId="{76D657B0-B5E7-4CCD-AB4F-F98418F63A6D}" destId="{1A0CB9DA-0DE9-4040-8775-8D326F1531DD}" srcOrd="0" destOrd="0" parTransId="{8E3AF61F-2C97-4FA8-A1B7-2495679F91F8}" sibTransId="{EF7D02BB-ECD8-404F-877A-B555FA06952E}"/>
    <dgm:cxn modelId="{AF6DBED0-F04A-483E-9B67-297E26DC4CF8}" type="presParOf" srcId="{FA55C950-A43F-4B20-94E8-E05F8E3E9CAE}" destId="{02793832-A8AE-46E0-98D6-C6D1F4946514}" srcOrd="0" destOrd="0" presId="urn:microsoft.com/office/officeart/2005/8/layout/orgChart1"/>
    <dgm:cxn modelId="{D5E37757-62C5-4B65-B005-C3BDE4630CF3}" type="presParOf" srcId="{02793832-A8AE-46E0-98D6-C6D1F4946514}" destId="{342373DF-6F5B-4473-927C-A45B7FB33E0E}" srcOrd="0" destOrd="0" presId="urn:microsoft.com/office/officeart/2005/8/layout/orgChart1"/>
    <dgm:cxn modelId="{0432AE94-B0B0-4B25-A7CF-16E0AB62CF1E}" type="presParOf" srcId="{342373DF-6F5B-4473-927C-A45B7FB33E0E}" destId="{B3008BF6-678D-4336-8B0B-1703769FC5B1}" srcOrd="0" destOrd="0" presId="urn:microsoft.com/office/officeart/2005/8/layout/orgChart1"/>
    <dgm:cxn modelId="{02EB75B7-A036-48C0-AFFD-BDDBB6C7D1CB}" type="presParOf" srcId="{342373DF-6F5B-4473-927C-A45B7FB33E0E}" destId="{0B4D62B9-B70B-4BDC-A6D2-6163B10CDDC0}" srcOrd="1" destOrd="0" presId="urn:microsoft.com/office/officeart/2005/8/layout/orgChart1"/>
    <dgm:cxn modelId="{FA0E4CD6-5293-4D56-9EB7-C6F0C10CD55B}" type="presParOf" srcId="{02793832-A8AE-46E0-98D6-C6D1F4946514}" destId="{727ED5CB-41B3-4EAA-ADE3-26D56A267E14}" srcOrd="1" destOrd="0" presId="urn:microsoft.com/office/officeart/2005/8/layout/orgChart1"/>
    <dgm:cxn modelId="{4FCBF679-90D0-4997-8AEF-3036C3E6A6E8}" type="presParOf" srcId="{727ED5CB-41B3-4EAA-ADE3-26D56A267E14}" destId="{51235BE2-FF4C-46FB-A16B-35E40F9B6AB5}" srcOrd="0" destOrd="0" presId="urn:microsoft.com/office/officeart/2005/8/layout/orgChart1"/>
    <dgm:cxn modelId="{39620A9F-FE5A-488C-B71E-4AB631791F5A}" type="presParOf" srcId="{727ED5CB-41B3-4EAA-ADE3-26D56A267E14}" destId="{83E101B4-A442-42B0-AADA-1D49123DF1B1}" srcOrd="1" destOrd="0" presId="urn:microsoft.com/office/officeart/2005/8/layout/orgChart1"/>
    <dgm:cxn modelId="{5F0B10D5-3126-4FD9-B9E0-8518B0E05DEA}" type="presParOf" srcId="{83E101B4-A442-42B0-AADA-1D49123DF1B1}" destId="{71D0A46C-E9C8-4B9C-94A4-B02607C888D0}" srcOrd="0" destOrd="0" presId="urn:microsoft.com/office/officeart/2005/8/layout/orgChart1"/>
    <dgm:cxn modelId="{9CF22791-8872-45C8-996D-65879BE058F2}" type="presParOf" srcId="{71D0A46C-E9C8-4B9C-94A4-B02607C888D0}" destId="{7520F520-47E6-49DC-9F1E-F02F76B3B6B0}" srcOrd="0" destOrd="0" presId="urn:microsoft.com/office/officeart/2005/8/layout/orgChart1"/>
    <dgm:cxn modelId="{B142DC6F-ACFE-4D30-8E51-8670F246B2F8}" type="presParOf" srcId="{71D0A46C-E9C8-4B9C-94A4-B02607C888D0}" destId="{36FF308D-AFFA-41FA-89E2-8C55323BF2D8}" srcOrd="1" destOrd="0" presId="urn:microsoft.com/office/officeart/2005/8/layout/orgChart1"/>
    <dgm:cxn modelId="{E13711B0-722A-44F0-A3FA-69E8E3116B03}" type="presParOf" srcId="{83E101B4-A442-42B0-AADA-1D49123DF1B1}" destId="{BE13367F-EA9C-47FD-B2C6-DD91A408B302}" srcOrd="1" destOrd="0" presId="urn:microsoft.com/office/officeart/2005/8/layout/orgChart1"/>
    <dgm:cxn modelId="{7AC7F219-6488-432F-9798-13FDF15648B1}" type="presParOf" srcId="{BE13367F-EA9C-47FD-B2C6-DD91A408B302}" destId="{3684E2D5-F804-4251-AE3F-89CCE61929ED}" srcOrd="0" destOrd="0" presId="urn:microsoft.com/office/officeart/2005/8/layout/orgChart1"/>
    <dgm:cxn modelId="{DA61CFBE-7FDE-4974-8043-CD3BC3133AEB}" type="presParOf" srcId="{BE13367F-EA9C-47FD-B2C6-DD91A408B302}" destId="{182DB27C-18F5-43EE-A717-A7ED438EE630}" srcOrd="1" destOrd="0" presId="urn:microsoft.com/office/officeart/2005/8/layout/orgChart1"/>
    <dgm:cxn modelId="{95B86059-98CA-43D3-BA5B-CD672497F7E4}" type="presParOf" srcId="{182DB27C-18F5-43EE-A717-A7ED438EE630}" destId="{78E50F39-5CE9-4891-80CE-D6C24E47FD0B}" srcOrd="0" destOrd="0" presId="urn:microsoft.com/office/officeart/2005/8/layout/orgChart1"/>
    <dgm:cxn modelId="{93236BE1-EA51-4A49-9E67-551B5E9C41AF}" type="presParOf" srcId="{78E50F39-5CE9-4891-80CE-D6C24E47FD0B}" destId="{AE634613-643C-43E7-98DE-D23239DF7C52}" srcOrd="0" destOrd="0" presId="urn:microsoft.com/office/officeart/2005/8/layout/orgChart1"/>
    <dgm:cxn modelId="{73AFB4A2-DBEE-4D53-96B1-19183B2525B8}" type="presParOf" srcId="{78E50F39-5CE9-4891-80CE-D6C24E47FD0B}" destId="{89111CDB-E01C-44D2-A827-96E4B984E40E}" srcOrd="1" destOrd="0" presId="urn:microsoft.com/office/officeart/2005/8/layout/orgChart1"/>
    <dgm:cxn modelId="{67E8D9E2-D807-4CEC-A32F-C0F3094E3863}" type="presParOf" srcId="{182DB27C-18F5-43EE-A717-A7ED438EE630}" destId="{74687FC4-4271-4146-A512-C558A221E7D2}" srcOrd="1" destOrd="0" presId="urn:microsoft.com/office/officeart/2005/8/layout/orgChart1"/>
    <dgm:cxn modelId="{E0A2D353-7BCE-446B-B198-F76D6D39DCE1}" type="presParOf" srcId="{182DB27C-18F5-43EE-A717-A7ED438EE630}" destId="{DCEB14AE-0AD4-4AA6-B15F-25489FC4FFBB}" srcOrd="2" destOrd="0" presId="urn:microsoft.com/office/officeart/2005/8/layout/orgChart1"/>
    <dgm:cxn modelId="{25C528DD-5581-467D-8A8F-D89C24DAB462}" type="presParOf" srcId="{83E101B4-A442-42B0-AADA-1D49123DF1B1}" destId="{D3397797-0943-450F-A130-29BF6CE8E9EA}" srcOrd="2" destOrd="0" presId="urn:microsoft.com/office/officeart/2005/8/layout/orgChart1"/>
    <dgm:cxn modelId="{445C9E92-1F18-4C9F-9582-0C3B0B4AAE7A}" type="presParOf" srcId="{727ED5CB-41B3-4EAA-ADE3-26D56A267E14}" destId="{E94ECDAF-C393-42CD-B911-E78A05A2B9B5}" srcOrd="2" destOrd="0" presId="urn:microsoft.com/office/officeart/2005/8/layout/orgChart1"/>
    <dgm:cxn modelId="{A610D3AF-7219-4895-AE29-76F2C1657F7F}" type="presParOf" srcId="{727ED5CB-41B3-4EAA-ADE3-26D56A267E14}" destId="{D5DC6A25-D75C-48E9-B161-DEC79BBFD60B}" srcOrd="3" destOrd="0" presId="urn:microsoft.com/office/officeart/2005/8/layout/orgChart1"/>
    <dgm:cxn modelId="{87C2FE2E-5BD5-4334-A769-798A91C1EF4A}" type="presParOf" srcId="{D5DC6A25-D75C-48E9-B161-DEC79BBFD60B}" destId="{A63F967A-130A-4C59-BCC3-B97C4D6E94E5}" srcOrd="0" destOrd="0" presId="urn:microsoft.com/office/officeart/2005/8/layout/orgChart1"/>
    <dgm:cxn modelId="{A86EACF7-DABB-416A-A742-4CF373C39ED3}" type="presParOf" srcId="{A63F967A-130A-4C59-BCC3-B97C4D6E94E5}" destId="{BF864085-F85F-43AF-BB36-879AC81C756A}" srcOrd="0" destOrd="0" presId="urn:microsoft.com/office/officeart/2005/8/layout/orgChart1"/>
    <dgm:cxn modelId="{97CE4C84-5729-4FA2-BBBA-83B01B260F56}" type="presParOf" srcId="{A63F967A-130A-4C59-BCC3-B97C4D6E94E5}" destId="{2AF0E2EC-2DE1-41C0-94EF-8889DBA1B783}" srcOrd="1" destOrd="0" presId="urn:microsoft.com/office/officeart/2005/8/layout/orgChart1"/>
    <dgm:cxn modelId="{6DE6A164-267F-4732-85F9-07BBF6119920}" type="presParOf" srcId="{D5DC6A25-D75C-48E9-B161-DEC79BBFD60B}" destId="{03B28C38-37DA-421C-B766-A0543E3CE45E}" srcOrd="1" destOrd="0" presId="urn:microsoft.com/office/officeart/2005/8/layout/orgChart1"/>
    <dgm:cxn modelId="{3192B624-90C7-4B8A-B356-0B0F32BB6FBF}" type="presParOf" srcId="{03B28C38-37DA-421C-B766-A0543E3CE45E}" destId="{2B2407E8-2D95-4096-8CC6-176FFAECC470}" srcOrd="0" destOrd="0" presId="urn:microsoft.com/office/officeart/2005/8/layout/orgChart1"/>
    <dgm:cxn modelId="{E764CAFB-227A-45F6-86E9-4CFE9B12312C}" type="presParOf" srcId="{03B28C38-37DA-421C-B766-A0543E3CE45E}" destId="{75E115E0-3313-47F8-9C29-AB64774DC5C9}" srcOrd="1" destOrd="0" presId="urn:microsoft.com/office/officeart/2005/8/layout/orgChart1"/>
    <dgm:cxn modelId="{558C5FF3-F934-4C1A-AEEE-3069AF59A75E}" type="presParOf" srcId="{75E115E0-3313-47F8-9C29-AB64774DC5C9}" destId="{48F20520-A8FC-479B-BF6D-8E8FC148292A}" srcOrd="0" destOrd="0" presId="urn:microsoft.com/office/officeart/2005/8/layout/orgChart1"/>
    <dgm:cxn modelId="{E7415D84-795C-4071-A893-8D84B6E509D6}" type="presParOf" srcId="{48F20520-A8FC-479B-BF6D-8E8FC148292A}" destId="{CAC7FC24-8762-4264-927D-335C827572E5}" srcOrd="0" destOrd="0" presId="urn:microsoft.com/office/officeart/2005/8/layout/orgChart1"/>
    <dgm:cxn modelId="{65B6E59E-CD19-4DC8-8546-27D981EE736F}" type="presParOf" srcId="{48F20520-A8FC-479B-BF6D-8E8FC148292A}" destId="{7368296A-16D9-4082-B5B1-80D5AF5F28C5}" srcOrd="1" destOrd="0" presId="urn:microsoft.com/office/officeart/2005/8/layout/orgChart1"/>
    <dgm:cxn modelId="{E1DF21DD-9B45-4A28-B34E-89FA17A6B1EB}" type="presParOf" srcId="{75E115E0-3313-47F8-9C29-AB64774DC5C9}" destId="{4DEBD9A6-2BC3-43BB-A0D9-DA9E0FDA054E}" srcOrd="1" destOrd="0" presId="urn:microsoft.com/office/officeart/2005/8/layout/orgChart1"/>
    <dgm:cxn modelId="{5B9A21C3-62A2-4F8E-87D6-DAAF130AFED5}" type="presParOf" srcId="{4DEBD9A6-2BC3-43BB-A0D9-DA9E0FDA054E}" destId="{BBE39514-A96E-44E7-841A-624BD7415BB2}" srcOrd="0" destOrd="0" presId="urn:microsoft.com/office/officeart/2005/8/layout/orgChart1"/>
    <dgm:cxn modelId="{AF0059BC-7694-488F-88DD-2B8BC12FFF87}" type="presParOf" srcId="{4DEBD9A6-2BC3-43BB-A0D9-DA9E0FDA054E}" destId="{CD86C19F-970D-42D2-9B48-894D56EF5094}" srcOrd="1" destOrd="0" presId="urn:microsoft.com/office/officeart/2005/8/layout/orgChart1"/>
    <dgm:cxn modelId="{9671E37E-6822-4A8E-9110-EC995925AA78}" type="presParOf" srcId="{CD86C19F-970D-42D2-9B48-894D56EF5094}" destId="{8DBB40AB-E853-4E4A-B917-738BDD1F3E74}" srcOrd="0" destOrd="0" presId="urn:microsoft.com/office/officeart/2005/8/layout/orgChart1"/>
    <dgm:cxn modelId="{F399427C-D139-430E-A9F7-A234172D62DE}" type="presParOf" srcId="{8DBB40AB-E853-4E4A-B917-738BDD1F3E74}" destId="{C054E755-1D9D-4138-AD82-BA858196FC21}" srcOrd="0" destOrd="0" presId="urn:microsoft.com/office/officeart/2005/8/layout/orgChart1"/>
    <dgm:cxn modelId="{979C0BF4-9195-4A68-85AB-5365D408EFFC}" type="presParOf" srcId="{8DBB40AB-E853-4E4A-B917-738BDD1F3E74}" destId="{1774DB08-7036-4729-985A-3B7C38508EBD}" srcOrd="1" destOrd="0" presId="urn:microsoft.com/office/officeart/2005/8/layout/orgChart1"/>
    <dgm:cxn modelId="{ACFB0F6E-AB9B-4605-873F-9AE03FD56F52}" type="presParOf" srcId="{CD86C19F-970D-42D2-9B48-894D56EF5094}" destId="{4DBDB081-668F-4262-9F2F-DEEFD76162CA}" srcOrd="1" destOrd="0" presId="urn:microsoft.com/office/officeart/2005/8/layout/orgChart1"/>
    <dgm:cxn modelId="{BB18044E-0060-4069-BAAD-4B7B182C646A}" type="presParOf" srcId="{CD86C19F-970D-42D2-9B48-894D56EF5094}" destId="{C09E38E6-6708-4974-9650-DE9AEA1A836A}" srcOrd="2" destOrd="0" presId="urn:microsoft.com/office/officeart/2005/8/layout/orgChart1"/>
    <dgm:cxn modelId="{8CF4ED13-C963-4C99-BA8E-49A07E88264D}" type="presParOf" srcId="{75E115E0-3313-47F8-9C29-AB64774DC5C9}" destId="{568D3972-8C2A-46C3-8A81-DBA6DAE5C514}" srcOrd="2" destOrd="0" presId="urn:microsoft.com/office/officeart/2005/8/layout/orgChart1"/>
    <dgm:cxn modelId="{23E95B3B-6C57-43BB-83CB-8FC870BC434D}" type="presParOf" srcId="{D5DC6A25-D75C-48E9-B161-DEC79BBFD60B}" destId="{2D18BE5A-2624-4562-9E05-78E3BE657917}" srcOrd="2" destOrd="0" presId="urn:microsoft.com/office/officeart/2005/8/layout/orgChart1"/>
    <dgm:cxn modelId="{70BA870C-ABEC-4221-8BB3-C4DFCED470CE}" type="presParOf" srcId="{727ED5CB-41B3-4EAA-ADE3-26D56A267E14}" destId="{47AB549A-7B92-41F7-8A1F-AC350B550FD3}" srcOrd="4" destOrd="0" presId="urn:microsoft.com/office/officeart/2005/8/layout/orgChart1"/>
    <dgm:cxn modelId="{32796381-0BCF-48F3-9A5F-7E7D45AFF084}" type="presParOf" srcId="{727ED5CB-41B3-4EAA-ADE3-26D56A267E14}" destId="{6C4A232A-8BA3-4A3A-916E-5B5249E074F0}" srcOrd="5" destOrd="0" presId="urn:microsoft.com/office/officeart/2005/8/layout/orgChart1"/>
    <dgm:cxn modelId="{7C6AF65F-EE39-4453-BD98-487243AAD662}" type="presParOf" srcId="{6C4A232A-8BA3-4A3A-916E-5B5249E074F0}" destId="{EB7D2D43-2A17-4D70-B3A0-185F7329C3E1}" srcOrd="0" destOrd="0" presId="urn:microsoft.com/office/officeart/2005/8/layout/orgChart1"/>
    <dgm:cxn modelId="{E3C3829B-42BF-4F1D-88BC-2F17A50F26D9}" type="presParOf" srcId="{EB7D2D43-2A17-4D70-B3A0-185F7329C3E1}" destId="{7DDA9F25-0BE9-4BBB-8896-29F5300D92DC}" srcOrd="0" destOrd="0" presId="urn:microsoft.com/office/officeart/2005/8/layout/orgChart1"/>
    <dgm:cxn modelId="{3F7B89D7-8020-47A4-B893-F81CF40133FB}" type="presParOf" srcId="{EB7D2D43-2A17-4D70-B3A0-185F7329C3E1}" destId="{89177295-29D9-47C6-98BB-34A4CAA785D3}" srcOrd="1" destOrd="0" presId="urn:microsoft.com/office/officeart/2005/8/layout/orgChart1"/>
    <dgm:cxn modelId="{6BDA1AC5-07CD-4597-9759-A6838D9E3309}" type="presParOf" srcId="{6C4A232A-8BA3-4A3A-916E-5B5249E074F0}" destId="{0C1AAC31-2E52-4D9F-B198-7073DFCB605B}" srcOrd="1" destOrd="0" presId="urn:microsoft.com/office/officeart/2005/8/layout/orgChart1"/>
    <dgm:cxn modelId="{73D93088-F290-4C88-ADFC-B702B5B19CEE}" type="presParOf" srcId="{0C1AAC31-2E52-4D9F-B198-7073DFCB605B}" destId="{0C22A892-0201-47B1-A8C8-29D0873E74A0}" srcOrd="0" destOrd="0" presId="urn:microsoft.com/office/officeart/2005/8/layout/orgChart1"/>
    <dgm:cxn modelId="{06276530-8B02-46DD-B588-95795C75299F}" type="presParOf" srcId="{0C1AAC31-2E52-4D9F-B198-7073DFCB605B}" destId="{50409218-B966-4750-B2A4-6B191FE320C4}" srcOrd="1" destOrd="0" presId="urn:microsoft.com/office/officeart/2005/8/layout/orgChart1"/>
    <dgm:cxn modelId="{1C002A77-4BBA-4170-932B-676C75EB228D}" type="presParOf" srcId="{50409218-B966-4750-B2A4-6B191FE320C4}" destId="{A453B25C-6E9B-48AD-A5B9-33D0A6719777}" srcOrd="0" destOrd="0" presId="urn:microsoft.com/office/officeart/2005/8/layout/orgChart1"/>
    <dgm:cxn modelId="{95311A2E-A629-4A72-8658-3CCDCFF9990B}" type="presParOf" srcId="{A453B25C-6E9B-48AD-A5B9-33D0A6719777}" destId="{80817413-A8C1-48BB-802C-6AED9A0392C6}" srcOrd="0" destOrd="0" presId="urn:microsoft.com/office/officeart/2005/8/layout/orgChart1"/>
    <dgm:cxn modelId="{924F9548-FADE-457C-8270-D21221AD41BB}" type="presParOf" srcId="{A453B25C-6E9B-48AD-A5B9-33D0A6719777}" destId="{2585DC83-A4FE-4E5F-BF32-4F13B0465FAD}" srcOrd="1" destOrd="0" presId="urn:microsoft.com/office/officeart/2005/8/layout/orgChart1"/>
    <dgm:cxn modelId="{2919D4A5-526B-4F41-94F1-75515E0B39F7}" type="presParOf" srcId="{50409218-B966-4750-B2A4-6B191FE320C4}" destId="{997A61D0-5584-4410-99CD-E727BD6F90B7}" srcOrd="1" destOrd="0" presId="urn:microsoft.com/office/officeart/2005/8/layout/orgChart1"/>
    <dgm:cxn modelId="{6045B0F1-24B9-46CA-82A0-ACE421C206FC}" type="presParOf" srcId="{50409218-B966-4750-B2A4-6B191FE320C4}" destId="{CDE103FF-080B-45A7-9B7C-A67DB75622C4}" srcOrd="2" destOrd="0" presId="urn:microsoft.com/office/officeart/2005/8/layout/orgChart1"/>
    <dgm:cxn modelId="{FE50F4BF-35BE-44D2-9FEC-04D33BE86FB7}" type="presParOf" srcId="{6C4A232A-8BA3-4A3A-916E-5B5249E074F0}" destId="{7C3C4165-7C76-4641-8A35-2FC8C05CD612}" srcOrd="2" destOrd="0" presId="urn:microsoft.com/office/officeart/2005/8/layout/orgChart1"/>
    <dgm:cxn modelId="{05E57B5B-5A69-4D20-84C2-794B2827F874}" type="presParOf" srcId="{02793832-A8AE-46E0-98D6-C6D1F4946514}" destId="{1BE00568-C690-4D16-89ED-E56810CAC18C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633D37-8164-45BC-B301-58D48A17A8D6}">
      <dsp:nvSpPr>
        <dsp:cNvPr id="0" name=""/>
        <dsp:cNvSpPr/>
      </dsp:nvSpPr>
      <dsp:spPr>
        <a:xfrm>
          <a:off x="1240786" y="2938755"/>
          <a:ext cx="229385" cy="7218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1878"/>
              </a:lnTo>
              <a:lnTo>
                <a:pt x="229385" y="72187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83ED2B-2F9D-4632-9D98-C8FC54E5CA7A}">
      <dsp:nvSpPr>
        <dsp:cNvPr id="0" name=""/>
        <dsp:cNvSpPr/>
      </dsp:nvSpPr>
      <dsp:spPr>
        <a:xfrm>
          <a:off x="1806760" y="1852999"/>
          <a:ext cx="91440" cy="32113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39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493E0C-3FC1-48D7-8262-C30EEB4131D1}">
      <dsp:nvSpPr>
        <dsp:cNvPr id="0" name=""/>
        <dsp:cNvSpPr/>
      </dsp:nvSpPr>
      <dsp:spPr>
        <a:xfrm>
          <a:off x="1806760" y="767243"/>
          <a:ext cx="91440" cy="32113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39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38621C-8D55-471B-9F1E-D989ADE1658D}">
      <dsp:nvSpPr>
        <dsp:cNvPr id="0" name=""/>
        <dsp:cNvSpPr/>
      </dsp:nvSpPr>
      <dsp:spPr>
        <a:xfrm>
          <a:off x="1087863" y="2627"/>
          <a:ext cx="1529233" cy="76461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kern="1200" dirty="0" smtClean="0"/>
            <a:t>Gobierno Nacional</a:t>
          </a:r>
          <a:endParaRPr lang="es-CO" sz="1700" kern="1200" dirty="0"/>
        </a:p>
      </dsp:txBody>
      <dsp:txXfrm>
        <a:off x="1087863" y="2627"/>
        <a:ext cx="1529233" cy="764616"/>
      </dsp:txXfrm>
    </dsp:sp>
    <dsp:sp modelId="{CE671201-8CD8-4C39-88DE-325AEF042F9E}">
      <dsp:nvSpPr>
        <dsp:cNvPr id="0" name=""/>
        <dsp:cNvSpPr/>
      </dsp:nvSpPr>
      <dsp:spPr>
        <a:xfrm>
          <a:off x="1087863" y="1088382"/>
          <a:ext cx="1529233" cy="76461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kern="1200" dirty="0" smtClean="0"/>
            <a:t>Ministerio de Energía</a:t>
          </a:r>
          <a:endParaRPr lang="es-CO" sz="1700" kern="1200" dirty="0"/>
        </a:p>
      </dsp:txBody>
      <dsp:txXfrm>
        <a:off x="1087863" y="1088382"/>
        <a:ext cx="1529233" cy="764616"/>
      </dsp:txXfrm>
    </dsp:sp>
    <dsp:sp modelId="{660C3117-ECAD-486C-8984-C9D075EC5373}">
      <dsp:nvSpPr>
        <dsp:cNvPr id="0" name=""/>
        <dsp:cNvSpPr/>
      </dsp:nvSpPr>
      <dsp:spPr>
        <a:xfrm>
          <a:off x="1087863" y="2174138"/>
          <a:ext cx="1529233" cy="76461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b="1" kern="1200" dirty="0" smtClean="0"/>
            <a:t>Autoridad de Regulación de Energía</a:t>
          </a:r>
          <a:endParaRPr lang="es-CO" sz="1700" b="1" kern="1200" dirty="0"/>
        </a:p>
      </dsp:txBody>
      <dsp:txXfrm>
        <a:off x="1087863" y="2174138"/>
        <a:ext cx="1529233" cy="764616"/>
      </dsp:txXfrm>
    </dsp:sp>
    <dsp:sp modelId="{1C3E4DE7-9863-4F5A-ACE7-1EF49E6C3EB3}">
      <dsp:nvSpPr>
        <dsp:cNvPr id="0" name=""/>
        <dsp:cNvSpPr/>
      </dsp:nvSpPr>
      <dsp:spPr>
        <a:xfrm>
          <a:off x="1470171" y="3259894"/>
          <a:ext cx="1529233" cy="801478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700" kern="1200" dirty="0" smtClean="0"/>
            <a:t>Aprueba el Código de Red</a:t>
          </a:r>
          <a:endParaRPr lang="es-CO" sz="1700" kern="1200" dirty="0"/>
        </a:p>
      </dsp:txBody>
      <dsp:txXfrm>
        <a:off x="1470171" y="3259894"/>
        <a:ext cx="1529233" cy="8014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633D37-8164-45BC-B301-58D48A17A8D6}">
      <dsp:nvSpPr>
        <dsp:cNvPr id="0" name=""/>
        <dsp:cNvSpPr/>
      </dsp:nvSpPr>
      <dsp:spPr>
        <a:xfrm>
          <a:off x="1281131" y="2966241"/>
          <a:ext cx="231630" cy="7103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0332"/>
              </a:lnTo>
              <a:lnTo>
                <a:pt x="231630" y="71033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83ED2B-2F9D-4632-9D98-C8FC54E5CA7A}">
      <dsp:nvSpPr>
        <dsp:cNvPr id="0" name=""/>
        <dsp:cNvSpPr/>
      </dsp:nvSpPr>
      <dsp:spPr>
        <a:xfrm>
          <a:off x="1853091" y="1869858"/>
          <a:ext cx="91440" cy="3242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4282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493E0C-3FC1-48D7-8262-C30EEB4131D1}">
      <dsp:nvSpPr>
        <dsp:cNvPr id="0" name=""/>
        <dsp:cNvSpPr/>
      </dsp:nvSpPr>
      <dsp:spPr>
        <a:xfrm>
          <a:off x="1853091" y="773475"/>
          <a:ext cx="91440" cy="32428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428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38621C-8D55-471B-9F1E-D989ADE1658D}">
      <dsp:nvSpPr>
        <dsp:cNvPr id="0" name=""/>
        <dsp:cNvSpPr/>
      </dsp:nvSpPr>
      <dsp:spPr>
        <a:xfrm>
          <a:off x="1126710" y="1375"/>
          <a:ext cx="1544201" cy="7721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Reino de España</a:t>
          </a:r>
          <a:endParaRPr lang="es-CO" sz="1400" kern="1200" dirty="0"/>
        </a:p>
      </dsp:txBody>
      <dsp:txXfrm>
        <a:off x="1126710" y="1375"/>
        <a:ext cx="1544201" cy="772100"/>
      </dsp:txXfrm>
    </dsp:sp>
    <dsp:sp modelId="{CE671201-8CD8-4C39-88DE-325AEF042F9E}">
      <dsp:nvSpPr>
        <dsp:cNvPr id="0" name=""/>
        <dsp:cNvSpPr/>
      </dsp:nvSpPr>
      <dsp:spPr>
        <a:xfrm>
          <a:off x="1030306" y="1097758"/>
          <a:ext cx="1737010" cy="7721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i="1" kern="1200" dirty="0" smtClean="0"/>
            <a:t>Ministerio de Industria, Turismo y Comercio</a:t>
          </a:r>
          <a:r>
            <a:rPr lang="es-CO" sz="1400" kern="1200" dirty="0" smtClean="0"/>
            <a:t> </a:t>
          </a:r>
          <a:endParaRPr lang="es-CO" sz="1400" kern="1200" dirty="0"/>
        </a:p>
      </dsp:txBody>
      <dsp:txXfrm>
        <a:off x="1030306" y="1097758"/>
        <a:ext cx="1737010" cy="772100"/>
      </dsp:txXfrm>
    </dsp:sp>
    <dsp:sp modelId="{660C3117-ECAD-486C-8984-C9D075EC5373}">
      <dsp:nvSpPr>
        <dsp:cNvPr id="0" name=""/>
        <dsp:cNvSpPr/>
      </dsp:nvSpPr>
      <dsp:spPr>
        <a:xfrm>
          <a:off x="1126710" y="2194141"/>
          <a:ext cx="1544201" cy="7721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Comisión Nacional de la Energía CNE</a:t>
          </a:r>
          <a:endParaRPr lang="es-CO" sz="1400" b="1" kern="1200" dirty="0"/>
        </a:p>
      </dsp:txBody>
      <dsp:txXfrm>
        <a:off x="1126710" y="2194141"/>
        <a:ext cx="1544201" cy="772100"/>
      </dsp:txXfrm>
    </dsp:sp>
    <dsp:sp modelId="{1C3E4DE7-9863-4F5A-ACE7-1EF49E6C3EB3}">
      <dsp:nvSpPr>
        <dsp:cNvPr id="0" name=""/>
        <dsp:cNvSpPr/>
      </dsp:nvSpPr>
      <dsp:spPr>
        <a:xfrm>
          <a:off x="1512761" y="3290524"/>
          <a:ext cx="1544201" cy="772100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Aprueba  las </a:t>
          </a:r>
          <a:r>
            <a:rPr lang="es-MX" sz="1400" b="1" kern="1200" dirty="0" smtClean="0"/>
            <a:t>Normas Técnicas de Gestión del Sistema NTGS</a:t>
          </a:r>
          <a:endParaRPr lang="es-CO" sz="1400" b="1" kern="1200" dirty="0"/>
        </a:p>
      </dsp:txBody>
      <dsp:txXfrm>
        <a:off x="1512761" y="3290524"/>
        <a:ext cx="1544201" cy="77210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5C984C-AAD4-4372-8C08-58FABBF6D664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A742BC-58AE-4FE0-A3F8-9175471A1BBF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4942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146E02A-21F0-45E2-82FE-FB1EA61C60B9}" type="slidenum">
              <a:rPr lang="de-DE"/>
              <a:pPr eaLnBrk="1" hangingPunct="1"/>
              <a:t>2</a:t>
            </a:fld>
            <a:endParaRPr lang="de-DE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CO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6146E02A-21F0-45E2-82FE-FB1EA61C60B9}" type="slidenum">
              <a:rPr lang="de-DE"/>
              <a:pPr eaLnBrk="1" hangingPunct="1"/>
              <a:t>3</a:t>
            </a:fld>
            <a:endParaRPr lang="de-DE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CO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1034FD8-9FF6-4EFA-A865-D18CED481696}" type="slidenum">
              <a:rPr lang="de-DE"/>
              <a:pPr eaLnBrk="1" hangingPunct="1"/>
              <a:t>4</a:t>
            </a:fld>
            <a:endParaRPr lang="de-DE"/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s-CO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742BC-58AE-4FE0-A3F8-9175471A1BBF}" type="slidenum">
              <a:rPr lang="es-CO" smtClean="0"/>
              <a:t>29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6457933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742BC-58AE-4FE0-A3F8-9175471A1BBF}" type="slidenum">
              <a:rPr lang="es-CO" smtClean="0"/>
              <a:t>3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68087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742BC-58AE-4FE0-A3F8-9175471A1BBF}" type="slidenum">
              <a:rPr lang="es-CO" smtClean="0"/>
              <a:t>35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68087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29170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058579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05877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9815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210743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776331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0422259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20619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728833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5853582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23195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3AA1196-327C-4CE6-8BC3-5BB80C2BA9DA}" type="datetimeFigureOut">
              <a:rPr lang="es-CO" smtClean="0"/>
              <a:t>17/12/2012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D8D6A9-5AE3-486F-89FF-9611E6532E39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510985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3.xml"/><Relationship Id="rId7" Type="http://schemas.openxmlformats.org/officeDocument/2006/relationships/image" Target="../media/image23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26.png"/><Relationship Id="rId7" Type="http://schemas.openxmlformats.org/officeDocument/2006/relationships/diagramQuickStyle" Target="../diagrams/quickStyle4.xml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27.png"/><Relationship Id="rId9" Type="http://schemas.microsoft.com/office/2007/relationships/diagramDrawing" Target="../diagrams/drawing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28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30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498.xml"/><Relationship Id="rId299" Type="http://schemas.openxmlformats.org/officeDocument/2006/relationships/tags" Target="../tags/tag680.xml"/><Relationship Id="rId21" Type="http://schemas.openxmlformats.org/officeDocument/2006/relationships/tags" Target="../tags/tag402.xml"/><Relationship Id="rId63" Type="http://schemas.openxmlformats.org/officeDocument/2006/relationships/tags" Target="../tags/tag444.xml"/><Relationship Id="rId159" Type="http://schemas.openxmlformats.org/officeDocument/2006/relationships/tags" Target="../tags/tag540.xml"/><Relationship Id="rId324" Type="http://schemas.openxmlformats.org/officeDocument/2006/relationships/tags" Target="../tags/tag705.xml"/><Relationship Id="rId366" Type="http://schemas.openxmlformats.org/officeDocument/2006/relationships/tags" Target="../tags/tag747.xml"/><Relationship Id="rId170" Type="http://schemas.openxmlformats.org/officeDocument/2006/relationships/tags" Target="../tags/tag551.xml"/><Relationship Id="rId226" Type="http://schemas.openxmlformats.org/officeDocument/2006/relationships/tags" Target="../tags/tag607.xml"/><Relationship Id="rId107" Type="http://schemas.openxmlformats.org/officeDocument/2006/relationships/tags" Target="../tags/tag488.xml"/><Relationship Id="rId268" Type="http://schemas.openxmlformats.org/officeDocument/2006/relationships/tags" Target="../tags/tag649.xml"/><Relationship Id="rId289" Type="http://schemas.openxmlformats.org/officeDocument/2006/relationships/tags" Target="../tags/tag670.xml"/><Relationship Id="rId11" Type="http://schemas.openxmlformats.org/officeDocument/2006/relationships/tags" Target="../tags/tag392.xml"/><Relationship Id="rId32" Type="http://schemas.openxmlformats.org/officeDocument/2006/relationships/tags" Target="../tags/tag413.xml"/><Relationship Id="rId53" Type="http://schemas.openxmlformats.org/officeDocument/2006/relationships/tags" Target="../tags/tag434.xml"/><Relationship Id="rId74" Type="http://schemas.openxmlformats.org/officeDocument/2006/relationships/tags" Target="../tags/tag455.xml"/><Relationship Id="rId128" Type="http://schemas.openxmlformats.org/officeDocument/2006/relationships/tags" Target="../tags/tag509.xml"/><Relationship Id="rId149" Type="http://schemas.openxmlformats.org/officeDocument/2006/relationships/tags" Target="../tags/tag530.xml"/><Relationship Id="rId314" Type="http://schemas.openxmlformats.org/officeDocument/2006/relationships/tags" Target="../tags/tag695.xml"/><Relationship Id="rId335" Type="http://schemas.openxmlformats.org/officeDocument/2006/relationships/tags" Target="../tags/tag716.xml"/><Relationship Id="rId356" Type="http://schemas.openxmlformats.org/officeDocument/2006/relationships/tags" Target="../tags/tag737.xml"/><Relationship Id="rId377" Type="http://schemas.openxmlformats.org/officeDocument/2006/relationships/tags" Target="../tags/tag758.xml"/><Relationship Id="rId398" Type="http://schemas.openxmlformats.org/officeDocument/2006/relationships/image" Target="../media/image15.png"/><Relationship Id="rId5" Type="http://schemas.openxmlformats.org/officeDocument/2006/relationships/tags" Target="../tags/tag386.xml"/><Relationship Id="rId95" Type="http://schemas.openxmlformats.org/officeDocument/2006/relationships/tags" Target="../tags/tag476.xml"/><Relationship Id="rId160" Type="http://schemas.openxmlformats.org/officeDocument/2006/relationships/tags" Target="../tags/tag541.xml"/><Relationship Id="rId181" Type="http://schemas.openxmlformats.org/officeDocument/2006/relationships/tags" Target="../tags/tag562.xml"/><Relationship Id="rId216" Type="http://schemas.openxmlformats.org/officeDocument/2006/relationships/tags" Target="../tags/tag597.xml"/><Relationship Id="rId237" Type="http://schemas.openxmlformats.org/officeDocument/2006/relationships/tags" Target="../tags/tag618.xml"/><Relationship Id="rId402" Type="http://schemas.openxmlformats.org/officeDocument/2006/relationships/image" Target="../media/image19.png"/><Relationship Id="rId258" Type="http://schemas.openxmlformats.org/officeDocument/2006/relationships/tags" Target="../tags/tag639.xml"/><Relationship Id="rId279" Type="http://schemas.openxmlformats.org/officeDocument/2006/relationships/tags" Target="../tags/tag660.xml"/><Relationship Id="rId22" Type="http://schemas.openxmlformats.org/officeDocument/2006/relationships/tags" Target="../tags/tag403.xml"/><Relationship Id="rId43" Type="http://schemas.openxmlformats.org/officeDocument/2006/relationships/tags" Target="../tags/tag424.xml"/><Relationship Id="rId64" Type="http://schemas.openxmlformats.org/officeDocument/2006/relationships/tags" Target="../tags/tag445.xml"/><Relationship Id="rId118" Type="http://schemas.openxmlformats.org/officeDocument/2006/relationships/tags" Target="../tags/tag499.xml"/><Relationship Id="rId139" Type="http://schemas.openxmlformats.org/officeDocument/2006/relationships/tags" Target="../tags/tag520.xml"/><Relationship Id="rId290" Type="http://schemas.openxmlformats.org/officeDocument/2006/relationships/tags" Target="../tags/tag671.xml"/><Relationship Id="rId304" Type="http://schemas.openxmlformats.org/officeDocument/2006/relationships/tags" Target="../tags/tag685.xml"/><Relationship Id="rId325" Type="http://schemas.openxmlformats.org/officeDocument/2006/relationships/tags" Target="../tags/tag706.xml"/><Relationship Id="rId346" Type="http://schemas.openxmlformats.org/officeDocument/2006/relationships/tags" Target="../tags/tag727.xml"/><Relationship Id="rId367" Type="http://schemas.openxmlformats.org/officeDocument/2006/relationships/tags" Target="../tags/tag748.xml"/><Relationship Id="rId388" Type="http://schemas.openxmlformats.org/officeDocument/2006/relationships/image" Target="../media/image5.png"/><Relationship Id="rId85" Type="http://schemas.openxmlformats.org/officeDocument/2006/relationships/tags" Target="../tags/tag466.xml"/><Relationship Id="rId150" Type="http://schemas.openxmlformats.org/officeDocument/2006/relationships/tags" Target="../tags/tag531.xml"/><Relationship Id="rId171" Type="http://schemas.openxmlformats.org/officeDocument/2006/relationships/tags" Target="../tags/tag552.xml"/><Relationship Id="rId192" Type="http://schemas.openxmlformats.org/officeDocument/2006/relationships/tags" Target="../tags/tag573.xml"/><Relationship Id="rId206" Type="http://schemas.openxmlformats.org/officeDocument/2006/relationships/tags" Target="../tags/tag587.xml"/><Relationship Id="rId227" Type="http://schemas.openxmlformats.org/officeDocument/2006/relationships/tags" Target="../tags/tag608.xml"/><Relationship Id="rId248" Type="http://schemas.openxmlformats.org/officeDocument/2006/relationships/tags" Target="../tags/tag629.xml"/><Relationship Id="rId269" Type="http://schemas.openxmlformats.org/officeDocument/2006/relationships/tags" Target="../tags/tag650.xml"/><Relationship Id="rId12" Type="http://schemas.openxmlformats.org/officeDocument/2006/relationships/tags" Target="../tags/tag393.xml"/><Relationship Id="rId33" Type="http://schemas.openxmlformats.org/officeDocument/2006/relationships/tags" Target="../tags/tag414.xml"/><Relationship Id="rId108" Type="http://schemas.openxmlformats.org/officeDocument/2006/relationships/tags" Target="../tags/tag489.xml"/><Relationship Id="rId129" Type="http://schemas.openxmlformats.org/officeDocument/2006/relationships/tags" Target="../tags/tag510.xml"/><Relationship Id="rId280" Type="http://schemas.openxmlformats.org/officeDocument/2006/relationships/tags" Target="../tags/tag661.xml"/><Relationship Id="rId315" Type="http://schemas.openxmlformats.org/officeDocument/2006/relationships/tags" Target="../tags/tag696.xml"/><Relationship Id="rId336" Type="http://schemas.openxmlformats.org/officeDocument/2006/relationships/tags" Target="../tags/tag717.xml"/><Relationship Id="rId357" Type="http://schemas.openxmlformats.org/officeDocument/2006/relationships/tags" Target="../tags/tag738.xml"/><Relationship Id="rId54" Type="http://schemas.openxmlformats.org/officeDocument/2006/relationships/tags" Target="../tags/tag435.xml"/><Relationship Id="rId75" Type="http://schemas.openxmlformats.org/officeDocument/2006/relationships/tags" Target="../tags/tag456.xml"/><Relationship Id="rId96" Type="http://schemas.openxmlformats.org/officeDocument/2006/relationships/tags" Target="../tags/tag477.xml"/><Relationship Id="rId140" Type="http://schemas.openxmlformats.org/officeDocument/2006/relationships/tags" Target="../tags/tag521.xml"/><Relationship Id="rId161" Type="http://schemas.openxmlformats.org/officeDocument/2006/relationships/tags" Target="../tags/tag542.xml"/><Relationship Id="rId182" Type="http://schemas.openxmlformats.org/officeDocument/2006/relationships/tags" Target="../tags/tag563.xml"/><Relationship Id="rId217" Type="http://schemas.openxmlformats.org/officeDocument/2006/relationships/tags" Target="../tags/tag598.xml"/><Relationship Id="rId378" Type="http://schemas.openxmlformats.org/officeDocument/2006/relationships/tags" Target="../tags/tag759.xml"/><Relationship Id="rId399" Type="http://schemas.openxmlformats.org/officeDocument/2006/relationships/image" Target="../media/image16.png"/><Relationship Id="rId6" Type="http://schemas.openxmlformats.org/officeDocument/2006/relationships/tags" Target="../tags/tag387.xml"/><Relationship Id="rId238" Type="http://schemas.openxmlformats.org/officeDocument/2006/relationships/tags" Target="../tags/tag619.xml"/><Relationship Id="rId259" Type="http://schemas.openxmlformats.org/officeDocument/2006/relationships/tags" Target="../tags/tag640.xml"/><Relationship Id="rId23" Type="http://schemas.openxmlformats.org/officeDocument/2006/relationships/tags" Target="../tags/tag404.xml"/><Relationship Id="rId119" Type="http://schemas.openxmlformats.org/officeDocument/2006/relationships/tags" Target="../tags/tag500.xml"/><Relationship Id="rId270" Type="http://schemas.openxmlformats.org/officeDocument/2006/relationships/tags" Target="../tags/tag651.xml"/><Relationship Id="rId291" Type="http://schemas.openxmlformats.org/officeDocument/2006/relationships/tags" Target="../tags/tag672.xml"/><Relationship Id="rId305" Type="http://schemas.openxmlformats.org/officeDocument/2006/relationships/tags" Target="../tags/tag686.xml"/><Relationship Id="rId326" Type="http://schemas.openxmlformats.org/officeDocument/2006/relationships/tags" Target="../tags/tag707.xml"/><Relationship Id="rId347" Type="http://schemas.openxmlformats.org/officeDocument/2006/relationships/tags" Target="../tags/tag728.xml"/><Relationship Id="rId44" Type="http://schemas.openxmlformats.org/officeDocument/2006/relationships/tags" Target="../tags/tag425.xml"/><Relationship Id="rId65" Type="http://schemas.openxmlformats.org/officeDocument/2006/relationships/tags" Target="../tags/tag446.xml"/><Relationship Id="rId86" Type="http://schemas.openxmlformats.org/officeDocument/2006/relationships/tags" Target="../tags/tag467.xml"/><Relationship Id="rId130" Type="http://schemas.openxmlformats.org/officeDocument/2006/relationships/tags" Target="../tags/tag511.xml"/><Relationship Id="rId151" Type="http://schemas.openxmlformats.org/officeDocument/2006/relationships/tags" Target="../tags/tag532.xml"/><Relationship Id="rId368" Type="http://schemas.openxmlformats.org/officeDocument/2006/relationships/tags" Target="../tags/tag749.xml"/><Relationship Id="rId389" Type="http://schemas.openxmlformats.org/officeDocument/2006/relationships/image" Target="../media/image6.png"/><Relationship Id="rId172" Type="http://schemas.openxmlformats.org/officeDocument/2006/relationships/tags" Target="../tags/tag553.xml"/><Relationship Id="rId193" Type="http://schemas.openxmlformats.org/officeDocument/2006/relationships/tags" Target="../tags/tag574.xml"/><Relationship Id="rId207" Type="http://schemas.openxmlformats.org/officeDocument/2006/relationships/tags" Target="../tags/tag588.xml"/><Relationship Id="rId228" Type="http://schemas.openxmlformats.org/officeDocument/2006/relationships/tags" Target="../tags/tag609.xml"/><Relationship Id="rId249" Type="http://schemas.openxmlformats.org/officeDocument/2006/relationships/tags" Target="../tags/tag630.xml"/><Relationship Id="rId13" Type="http://schemas.openxmlformats.org/officeDocument/2006/relationships/tags" Target="../tags/tag394.xml"/><Relationship Id="rId109" Type="http://schemas.openxmlformats.org/officeDocument/2006/relationships/tags" Target="../tags/tag490.xml"/><Relationship Id="rId260" Type="http://schemas.openxmlformats.org/officeDocument/2006/relationships/tags" Target="../tags/tag641.xml"/><Relationship Id="rId281" Type="http://schemas.openxmlformats.org/officeDocument/2006/relationships/tags" Target="../tags/tag662.xml"/><Relationship Id="rId316" Type="http://schemas.openxmlformats.org/officeDocument/2006/relationships/tags" Target="../tags/tag697.xml"/><Relationship Id="rId337" Type="http://schemas.openxmlformats.org/officeDocument/2006/relationships/tags" Target="../tags/tag718.xml"/><Relationship Id="rId34" Type="http://schemas.openxmlformats.org/officeDocument/2006/relationships/tags" Target="../tags/tag415.xml"/><Relationship Id="rId55" Type="http://schemas.openxmlformats.org/officeDocument/2006/relationships/tags" Target="../tags/tag436.xml"/><Relationship Id="rId76" Type="http://schemas.openxmlformats.org/officeDocument/2006/relationships/tags" Target="../tags/tag457.xml"/><Relationship Id="rId97" Type="http://schemas.openxmlformats.org/officeDocument/2006/relationships/tags" Target="../tags/tag478.xml"/><Relationship Id="rId120" Type="http://schemas.openxmlformats.org/officeDocument/2006/relationships/tags" Target="../tags/tag501.xml"/><Relationship Id="rId141" Type="http://schemas.openxmlformats.org/officeDocument/2006/relationships/tags" Target="../tags/tag522.xml"/><Relationship Id="rId358" Type="http://schemas.openxmlformats.org/officeDocument/2006/relationships/tags" Target="../tags/tag739.xml"/><Relationship Id="rId379" Type="http://schemas.openxmlformats.org/officeDocument/2006/relationships/tags" Target="../tags/tag760.xml"/><Relationship Id="rId7" Type="http://schemas.openxmlformats.org/officeDocument/2006/relationships/tags" Target="../tags/tag388.xml"/><Relationship Id="rId162" Type="http://schemas.openxmlformats.org/officeDocument/2006/relationships/tags" Target="../tags/tag543.xml"/><Relationship Id="rId183" Type="http://schemas.openxmlformats.org/officeDocument/2006/relationships/tags" Target="../tags/tag564.xml"/><Relationship Id="rId218" Type="http://schemas.openxmlformats.org/officeDocument/2006/relationships/tags" Target="../tags/tag599.xml"/><Relationship Id="rId239" Type="http://schemas.openxmlformats.org/officeDocument/2006/relationships/tags" Target="../tags/tag620.xml"/><Relationship Id="rId390" Type="http://schemas.openxmlformats.org/officeDocument/2006/relationships/image" Target="../media/image7.png"/><Relationship Id="rId250" Type="http://schemas.openxmlformats.org/officeDocument/2006/relationships/tags" Target="../tags/tag631.xml"/><Relationship Id="rId271" Type="http://schemas.openxmlformats.org/officeDocument/2006/relationships/tags" Target="../tags/tag652.xml"/><Relationship Id="rId292" Type="http://schemas.openxmlformats.org/officeDocument/2006/relationships/tags" Target="../tags/tag673.xml"/><Relationship Id="rId306" Type="http://schemas.openxmlformats.org/officeDocument/2006/relationships/tags" Target="../tags/tag687.xml"/><Relationship Id="rId24" Type="http://schemas.openxmlformats.org/officeDocument/2006/relationships/tags" Target="../tags/tag405.xml"/><Relationship Id="rId45" Type="http://schemas.openxmlformats.org/officeDocument/2006/relationships/tags" Target="../tags/tag426.xml"/><Relationship Id="rId66" Type="http://schemas.openxmlformats.org/officeDocument/2006/relationships/tags" Target="../tags/tag447.xml"/><Relationship Id="rId87" Type="http://schemas.openxmlformats.org/officeDocument/2006/relationships/tags" Target="../tags/tag468.xml"/><Relationship Id="rId110" Type="http://schemas.openxmlformats.org/officeDocument/2006/relationships/tags" Target="../tags/tag491.xml"/><Relationship Id="rId131" Type="http://schemas.openxmlformats.org/officeDocument/2006/relationships/tags" Target="../tags/tag512.xml"/><Relationship Id="rId327" Type="http://schemas.openxmlformats.org/officeDocument/2006/relationships/tags" Target="../tags/tag708.xml"/><Relationship Id="rId348" Type="http://schemas.openxmlformats.org/officeDocument/2006/relationships/tags" Target="../tags/tag729.xml"/><Relationship Id="rId369" Type="http://schemas.openxmlformats.org/officeDocument/2006/relationships/tags" Target="../tags/tag750.xml"/><Relationship Id="rId152" Type="http://schemas.openxmlformats.org/officeDocument/2006/relationships/tags" Target="../tags/tag533.xml"/><Relationship Id="rId173" Type="http://schemas.openxmlformats.org/officeDocument/2006/relationships/tags" Target="../tags/tag554.xml"/><Relationship Id="rId194" Type="http://schemas.openxmlformats.org/officeDocument/2006/relationships/tags" Target="../tags/tag575.xml"/><Relationship Id="rId208" Type="http://schemas.openxmlformats.org/officeDocument/2006/relationships/tags" Target="../tags/tag589.xml"/><Relationship Id="rId229" Type="http://schemas.openxmlformats.org/officeDocument/2006/relationships/tags" Target="../tags/tag610.xml"/><Relationship Id="rId380" Type="http://schemas.openxmlformats.org/officeDocument/2006/relationships/tags" Target="../tags/tag761.xml"/><Relationship Id="rId240" Type="http://schemas.openxmlformats.org/officeDocument/2006/relationships/tags" Target="../tags/tag621.xml"/><Relationship Id="rId261" Type="http://schemas.openxmlformats.org/officeDocument/2006/relationships/tags" Target="../tags/tag642.xml"/><Relationship Id="rId14" Type="http://schemas.openxmlformats.org/officeDocument/2006/relationships/tags" Target="../tags/tag395.xml"/><Relationship Id="rId35" Type="http://schemas.openxmlformats.org/officeDocument/2006/relationships/tags" Target="../tags/tag416.xml"/><Relationship Id="rId56" Type="http://schemas.openxmlformats.org/officeDocument/2006/relationships/tags" Target="../tags/tag437.xml"/><Relationship Id="rId77" Type="http://schemas.openxmlformats.org/officeDocument/2006/relationships/tags" Target="../tags/tag458.xml"/><Relationship Id="rId100" Type="http://schemas.openxmlformats.org/officeDocument/2006/relationships/tags" Target="../tags/tag481.xml"/><Relationship Id="rId282" Type="http://schemas.openxmlformats.org/officeDocument/2006/relationships/tags" Target="../tags/tag663.xml"/><Relationship Id="rId317" Type="http://schemas.openxmlformats.org/officeDocument/2006/relationships/tags" Target="../tags/tag698.xml"/><Relationship Id="rId338" Type="http://schemas.openxmlformats.org/officeDocument/2006/relationships/tags" Target="../tags/tag719.xml"/><Relationship Id="rId359" Type="http://schemas.openxmlformats.org/officeDocument/2006/relationships/tags" Target="../tags/tag740.xml"/><Relationship Id="rId8" Type="http://schemas.openxmlformats.org/officeDocument/2006/relationships/tags" Target="../tags/tag389.xml"/><Relationship Id="rId98" Type="http://schemas.openxmlformats.org/officeDocument/2006/relationships/tags" Target="../tags/tag479.xml"/><Relationship Id="rId121" Type="http://schemas.openxmlformats.org/officeDocument/2006/relationships/tags" Target="../tags/tag502.xml"/><Relationship Id="rId142" Type="http://schemas.openxmlformats.org/officeDocument/2006/relationships/tags" Target="../tags/tag523.xml"/><Relationship Id="rId163" Type="http://schemas.openxmlformats.org/officeDocument/2006/relationships/tags" Target="../tags/tag544.xml"/><Relationship Id="rId184" Type="http://schemas.openxmlformats.org/officeDocument/2006/relationships/tags" Target="../tags/tag565.xml"/><Relationship Id="rId219" Type="http://schemas.openxmlformats.org/officeDocument/2006/relationships/tags" Target="../tags/tag600.xml"/><Relationship Id="rId370" Type="http://schemas.openxmlformats.org/officeDocument/2006/relationships/tags" Target="../tags/tag751.xml"/><Relationship Id="rId391" Type="http://schemas.openxmlformats.org/officeDocument/2006/relationships/image" Target="../media/image8.png"/><Relationship Id="rId230" Type="http://schemas.openxmlformats.org/officeDocument/2006/relationships/tags" Target="../tags/tag611.xml"/><Relationship Id="rId251" Type="http://schemas.openxmlformats.org/officeDocument/2006/relationships/tags" Target="../tags/tag632.xml"/><Relationship Id="rId25" Type="http://schemas.openxmlformats.org/officeDocument/2006/relationships/tags" Target="../tags/tag406.xml"/><Relationship Id="rId46" Type="http://schemas.openxmlformats.org/officeDocument/2006/relationships/tags" Target="../tags/tag427.xml"/><Relationship Id="rId67" Type="http://schemas.openxmlformats.org/officeDocument/2006/relationships/tags" Target="../tags/tag448.xml"/><Relationship Id="rId272" Type="http://schemas.openxmlformats.org/officeDocument/2006/relationships/tags" Target="../tags/tag653.xml"/><Relationship Id="rId293" Type="http://schemas.openxmlformats.org/officeDocument/2006/relationships/tags" Target="../tags/tag674.xml"/><Relationship Id="rId307" Type="http://schemas.openxmlformats.org/officeDocument/2006/relationships/tags" Target="../tags/tag688.xml"/><Relationship Id="rId328" Type="http://schemas.openxmlformats.org/officeDocument/2006/relationships/tags" Target="../tags/tag709.xml"/><Relationship Id="rId349" Type="http://schemas.openxmlformats.org/officeDocument/2006/relationships/tags" Target="../tags/tag730.xml"/><Relationship Id="rId88" Type="http://schemas.openxmlformats.org/officeDocument/2006/relationships/tags" Target="../tags/tag469.xml"/><Relationship Id="rId111" Type="http://schemas.openxmlformats.org/officeDocument/2006/relationships/tags" Target="../tags/tag492.xml"/><Relationship Id="rId132" Type="http://schemas.openxmlformats.org/officeDocument/2006/relationships/tags" Target="../tags/tag513.xml"/><Relationship Id="rId153" Type="http://schemas.openxmlformats.org/officeDocument/2006/relationships/tags" Target="../tags/tag534.xml"/><Relationship Id="rId174" Type="http://schemas.openxmlformats.org/officeDocument/2006/relationships/tags" Target="../tags/tag555.xml"/><Relationship Id="rId195" Type="http://schemas.openxmlformats.org/officeDocument/2006/relationships/tags" Target="../tags/tag576.xml"/><Relationship Id="rId209" Type="http://schemas.openxmlformats.org/officeDocument/2006/relationships/tags" Target="../tags/tag590.xml"/><Relationship Id="rId360" Type="http://schemas.openxmlformats.org/officeDocument/2006/relationships/tags" Target="../tags/tag741.xml"/><Relationship Id="rId381" Type="http://schemas.openxmlformats.org/officeDocument/2006/relationships/tags" Target="../tags/tag762.xml"/><Relationship Id="rId220" Type="http://schemas.openxmlformats.org/officeDocument/2006/relationships/tags" Target="../tags/tag601.xml"/><Relationship Id="rId241" Type="http://schemas.openxmlformats.org/officeDocument/2006/relationships/tags" Target="../tags/tag622.xml"/><Relationship Id="rId15" Type="http://schemas.openxmlformats.org/officeDocument/2006/relationships/tags" Target="../tags/tag396.xml"/><Relationship Id="rId36" Type="http://schemas.openxmlformats.org/officeDocument/2006/relationships/tags" Target="../tags/tag417.xml"/><Relationship Id="rId57" Type="http://schemas.openxmlformats.org/officeDocument/2006/relationships/tags" Target="../tags/tag438.xml"/><Relationship Id="rId262" Type="http://schemas.openxmlformats.org/officeDocument/2006/relationships/tags" Target="../tags/tag643.xml"/><Relationship Id="rId283" Type="http://schemas.openxmlformats.org/officeDocument/2006/relationships/tags" Target="../tags/tag664.xml"/><Relationship Id="rId318" Type="http://schemas.openxmlformats.org/officeDocument/2006/relationships/tags" Target="../tags/tag699.xml"/><Relationship Id="rId339" Type="http://schemas.openxmlformats.org/officeDocument/2006/relationships/tags" Target="../tags/tag720.xml"/><Relationship Id="rId78" Type="http://schemas.openxmlformats.org/officeDocument/2006/relationships/tags" Target="../tags/tag459.xml"/><Relationship Id="rId99" Type="http://schemas.openxmlformats.org/officeDocument/2006/relationships/tags" Target="../tags/tag480.xml"/><Relationship Id="rId101" Type="http://schemas.openxmlformats.org/officeDocument/2006/relationships/tags" Target="../tags/tag482.xml"/><Relationship Id="rId122" Type="http://schemas.openxmlformats.org/officeDocument/2006/relationships/tags" Target="../tags/tag503.xml"/><Relationship Id="rId143" Type="http://schemas.openxmlformats.org/officeDocument/2006/relationships/tags" Target="../tags/tag524.xml"/><Relationship Id="rId164" Type="http://schemas.openxmlformats.org/officeDocument/2006/relationships/tags" Target="../tags/tag545.xml"/><Relationship Id="rId185" Type="http://schemas.openxmlformats.org/officeDocument/2006/relationships/tags" Target="../tags/tag566.xml"/><Relationship Id="rId350" Type="http://schemas.openxmlformats.org/officeDocument/2006/relationships/tags" Target="../tags/tag731.xml"/><Relationship Id="rId371" Type="http://schemas.openxmlformats.org/officeDocument/2006/relationships/tags" Target="../tags/tag752.xml"/><Relationship Id="rId9" Type="http://schemas.openxmlformats.org/officeDocument/2006/relationships/tags" Target="../tags/tag390.xml"/><Relationship Id="rId210" Type="http://schemas.openxmlformats.org/officeDocument/2006/relationships/tags" Target="../tags/tag591.xml"/><Relationship Id="rId392" Type="http://schemas.openxmlformats.org/officeDocument/2006/relationships/image" Target="../media/image9.png"/><Relationship Id="rId26" Type="http://schemas.openxmlformats.org/officeDocument/2006/relationships/tags" Target="../tags/tag407.xml"/><Relationship Id="rId231" Type="http://schemas.openxmlformats.org/officeDocument/2006/relationships/tags" Target="../tags/tag612.xml"/><Relationship Id="rId252" Type="http://schemas.openxmlformats.org/officeDocument/2006/relationships/tags" Target="../tags/tag633.xml"/><Relationship Id="rId273" Type="http://schemas.openxmlformats.org/officeDocument/2006/relationships/tags" Target="../tags/tag654.xml"/><Relationship Id="rId294" Type="http://schemas.openxmlformats.org/officeDocument/2006/relationships/tags" Target="../tags/tag675.xml"/><Relationship Id="rId308" Type="http://schemas.openxmlformats.org/officeDocument/2006/relationships/tags" Target="../tags/tag689.xml"/><Relationship Id="rId329" Type="http://schemas.openxmlformats.org/officeDocument/2006/relationships/tags" Target="../tags/tag710.xml"/><Relationship Id="rId47" Type="http://schemas.openxmlformats.org/officeDocument/2006/relationships/tags" Target="../tags/tag428.xml"/><Relationship Id="rId68" Type="http://schemas.openxmlformats.org/officeDocument/2006/relationships/tags" Target="../tags/tag449.xml"/><Relationship Id="rId89" Type="http://schemas.openxmlformats.org/officeDocument/2006/relationships/tags" Target="../tags/tag470.xml"/><Relationship Id="rId112" Type="http://schemas.openxmlformats.org/officeDocument/2006/relationships/tags" Target="../tags/tag493.xml"/><Relationship Id="rId133" Type="http://schemas.openxmlformats.org/officeDocument/2006/relationships/tags" Target="../tags/tag514.xml"/><Relationship Id="rId154" Type="http://schemas.openxmlformats.org/officeDocument/2006/relationships/tags" Target="../tags/tag535.xml"/><Relationship Id="rId175" Type="http://schemas.openxmlformats.org/officeDocument/2006/relationships/tags" Target="../tags/tag556.xml"/><Relationship Id="rId340" Type="http://schemas.openxmlformats.org/officeDocument/2006/relationships/tags" Target="../tags/tag721.xml"/><Relationship Id="rId361" Type="http://schemas.openxmlformats.org/officeDocument/2006/relationships/tags" Target="../tags/tag742.xml"/><Relationship Id="rId196" Type="http://schemas.openxmlformats.org/officeDocument/2006/relationships/tags" Target="../tags/tag577.xml"/><Relationship Id="rId200" Type="http://schemas.openxmlformats.org/officeDocument/2006/relationships/tags" Target="../tags/tag581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397.xml"/><Relationship Id="rId221" Type="http://schemas.openxmlformats.org/officeDocument/2006/relationships/tags" Target="../tags/tag602.xml"/><Relationship Id="rId242" Type="http://schemas.openxmlformats.org/officeDocument/2006/relationships/tags" Target="../tags/tag623.xml"/><Relationship Id="rId263" Type="http://schemas.openxmlformats.org/officeDocument/2006/relationships/tags" Target="../tags/tag644.xml"/><Relationship Id="rId284" Type="http://schemas.openxmlformats.org/officeDocument/2006/relationships/tags" Target="../tags/tag665.xml"/><Relationship Id="rId319" Type="http://schemas.openxmlformats.org/officeDocument/2006/relationships/tags" Target="../tags/tag700.xml"/><Relationship Id="rId37" Type="http://schemas.openxmlformats.org/officeDocument/2006/relationships/tags" Target="../tags/tag418.xml"/><Relationship Id="rId58" Type="http://schemas.openxmlformats.org/officeDocument/2006/relationships/tags" Target="../tags/tag439.xml"/><Relationship Id="rId79" Type="http://schemas.openxmlformats.org/officeDocument/2006/relationships/tags" Target="../tags/tag460.xml"/><Relationship Id="rId102" Type="http://schemas.openxmlformats.org/officeDocument/2006/relationships/tags" Target="../tags/tag483.xml"/><Relationship Id="rId123" Type="http://schemas.openxmlformats.org/officeDocument/2006/relationships/tags" Target="../tags/tag504.xml"/><Relationship Id="rId144" Type="http://schemas.openxmlformats.org/officeDocument/2006/relationships/tags" Target="../tags/tag525.xml"/><Relationship Id="rId330" Type="http://schemas.openxmlformats.org/officeDocument/2006/relationships/tags" Target="../tags/tag711.xml"/><Relationship Id="rId90" Type="http://schemas.openxmlformats.org/officeDocument/2006/relationships/tags" Target="../tags/tag471.xml"/><Relationship Id="rId165" Type="http://schemas.openxmlformats.org/officeDocument/2006/relationships/tags" Target="../tags/tag546.xml"/><Relationship Id="rId186" Type="http://schemas.openxmlformats.org/officeDocument/2006/relationships/tags" Target="../tags/tag567.xml"/><Relationship Id="rId351" Type="http://schemas.openxmlformats.org/officeDocument/2006/relationships/tags" Target="../tags/tag732.xml"/><Relationship Id="rId372" Type="http://schemas.openxmlformats.org/officeDocument/2006/relationships/tags" Target="../tags/tag753.xml"/><Relationship Id="rId393" Type="http://schemas.openxmlformats.org/officeDocument/2006/relationships/image" Target="../media/image10.png"/><Relationship Id="rId211" Type="http://schemas.openxmlformats.org/officeDocument/2006/relationships/tags" Target="../tags/tag592.xml"/><Relationship Id="rId232" Type="http://schemas.openxmlformats.org/officeDocument/2006/relationships/tags" Target="../tags/tag613.xml"/><Relationship Id="rId253" Type="http://schemas.openxmlformats.org/officeDocument/2006/relationships/tags" Target="../tags/tag634.xml"/><Relationship Id="rId274" Type="http://schemas.openxmlformats.org/officeDocument/2006/relationships/tags" Target="../tags/tag655.xml"/><Relationship Id="rId295" Type="http://schemas.openxmlformats.org/officeDocument/2006/relationships/tags" Target="../tags/tag676.xml"/><Relationship Id="rId309" Type="http://schemas.openxmlformats.org/officeDocument/2006/relationships/tags" Target="../tags/tag690.xml"/><Relationship Id="rId27" Type="http://schemas.openxmlformats.org/officeDocument/2006/relationships/tags" Target="../tags/tag408.xml"/><Relationship Id="rId48" Type="http://schemas.openxmlformats.org/officeDocument/2006/relationships/tags" Target="../tags/tag429.xml"/><Relationship Id="rId69" Type="http://schemas.openxmlformats.org/officeDocument/2006/relationships/tags" Target="../tags/tag450.xml"/><Relationship Id="rId113" Type="http://schemas.openxmlformats.org/officeDocument/2006/relationships/tags" Target="../tags/tag494.xml"/><Relationship Id="rId134" Type="http://schemas.openxmlformats.org/officeDocument/2006/relationships/tags" Target="../tags/tag515.xml"/><Relationship Id="rId320" Type="http://schemas.openxmlformats.org/officeDocument/2006/relationships/tags" Target="../tags/tag701.xml"/><Relationship Id="rId80" Type="http://schemas.openxmlformats.org/officeDocument/2006/relationships/tags" Target="../tags/tag461.xml"/><Relationship Id="rId155" Type="http://schemas.openxmlformats.org/officeDocument/2006/relationships/tags" Target="../tags/tag536.xml"/><Relationship Id="rId176" Type="http://schemas.openxmlformats.org/officeDocument/2006/relationships/tags" Target="../tags/tag557.xml"/><Relationship Id="rId197" Type="http://schemas.openxmlformats.org/officeDocument/2006/relationships/tags" Target="../tags/tag578.xml"/><Relationship Id="rId341" Type="http://schemas.openxmlformats.org/officeDocument/2006/relationships/tags" Target="../tags/tag722.xml"/><Relationship Id="rId362" Type="http://schemas.openxmlformats.org/officeDocument/2006/relationships/tags" Target="../tags/tag743.xml"/><Relationship Id="rId383" Type="http://schemas.openxmlformats.org/officeDocument/2006/relationships/notesSlide" Target="../notesSlides/notesSlide2.xml"/><Relationship Id="rId201" Type="http://schemas.openxmlformats.org/officeDocument/2006/relationships/tags" Target="../tags/tag582.xml"/><Relationship Id="rId222" Type="http://schemas.openxmlformats.org/officeDocument/2006/relationships/tags" Target="../tags/tag603.xml"/><Relationship Id="rId243" Type="http://schemas.openxmlformats.org/officeDocument/2006/relationships/tags" Target="../tags/tag624.xml"/><Relationship Id="rId264" Type="http://schemas.openxmlformats.org/officeDocument/2006/relationships/tags" Target="../tags/tag645.xml"/><Relationship Id="rId285" Type="http://schemas.openxmlformats.org/officeDocument/2006/relationships/tags" Target="../tags/tag666.xml"/><Relationship Id="rId17" Type="http://schemas.openxmlformats.org/officeDocument/2006/relationships/tags" Target="../tags/tag398.xml"/><Relationship Id="rId38" Type="http://schemas.openxmlformats.org/officeDocument/2006/relationships/tags" Target="../tags/tag419.xml"/><Relationship Id="rId59" Type="http://schemas.openxmlformats.org/officeDocument/2006/relationships/tags" Target="../tags/tag440.xml"/><Relationship Id="rId103" Type="http://schemas.openxmlformats.org/officeDocument/2006/relationships/tags" Target="../tags/tag484.xml"/><Relationship Id="rId124" Type="http://schemas.openxmlformats.org/officeDocument/2006/relationships/tags" Target="../tags/tag505.xml"/><Relationship Id="rId310" Type="http://schemas.openxmlformats.org/officeDocument/2006/relationships/tags" Target="../tags/tag691.xml"/><Relationship Id="rId70" Type="http://schemas.openxmlformats.org/officeDocument/2006/relationships/tags" Target="../tags/tag451.xml"/><Relationship Id="rId91" Type="http://schemas.openxmlformats.org/officeDocument/2006/relationships/tags" Target="../tags/tag472.xml"/><Relationship Id="rId145" Type="http://schemas.openxmlformats.org/officeDocument/2006/relationships/tags" Target="../tags/tag526.xml"/><Relationship Id="rId166" Type="http://schemas.openxmlformats.org/officeDocument/2006/relationships/tags" Target="../tags/tag547.xml"/><Relationship Id="rId187" Type="http://schemas.openxmlformats.org/officeDocument/2006/relationships/tags" Target="../tags/tag568.xml"/><Relationship Id="rId331" Type="http://schemas.openxmlformats.org/officeDocument/2006/relationships/tags" Target="../tags/tag712.xml"/><Relationship Id="rId352" Type="http://schemas.openxmlformats.org/officeDocument/2006/relationships/tags" Target="../tags/tag733.xml"/><Relationship Id="rId373" Type="http://schemas.openxmlformats.org/officeDocument/2006/relationships/tags" Target="../tags/tag754.xml"/><Relationship Id="rId394" Type="http://schemas.openxmlformats.org/officeDocument/2006/relationships/image" Target="../media/image11.png"/><Relationship Id="rId1" Type="http://schemas.openxmlformats.org/officeDocument/2006/relationships/tags" Target="../tags/tag382.xml"/><Relationship Id="rId212" Type="http://schemas.openxmlformats.org/officeDocument/2006/relationships/tags" Target="../tags/tag593.xml"/><Relationship Id="rId233" Type="http://schemas.openxmlformats.org/officeDocument/2006/relationships/tags" Target="../tags/tag614.xml"/><Relationship Id="rId254" Type="http://schemas.openxmlformats.org/officeDocument/2006/relationships/tags" Target="../tags/tag635.xml"/><Relationship Id="rId28" Type="http://schemas.openxmlformats.org/officeDocument/2006/relationships/tags" Target="../tags/tag409.xml"/><Relationship Id="rId49" Type="http://schemas.openxmlformats.org/officeDocument/2006/relationships/tags" Target="../tags/tag430.xml"/><Relationship Id="rId114" Type="http://schemas.openxmlformats.org/officeDocument/2006/relationships/tags" Target="../tags/tag495.xml"/><Relationship Id="rId275" Type="http://schemas.openxmlformats.org/officeDocument/2006/relationships/tags" Target="../tags/tag656.xml"/><Relationship Id="rId296" Type="http://schemas.openxmlformats.org/officeDocument/2006/relationships/tags" Target="../tags/tag677.xml"/><Relationship Id="rId300" Type="http://schemas.openxmlformats.org/officeDocument/2006/relationships/tags" Target="../tags/tag681.xml"/><Relationship Id="rId60" Type="http://schemas.openxmlformats.org/officeDocument/2006/relationships/tags" Target="../tags/tag441.xml"/><Relationship Id="rId81" Type="http://schemas.openxmlformats.org/officeDocument/2006/relationships/tags" Target="../tags/tag462.xml"/><Relationship Id="rId135" Type="http://schemas.openxmlformats.org/officeDocument/2006/relationships/tags" Target="../tags/tag516.xml"/><Relationship Id="rId156" Type="http://schemas.openxmlformats.org/officeDocument/2006/relationships/tags" Target="../tags/tag537.xml"/><Relationship Id="rId177" Type="http://schemas.openxmlformats.org/officeDocument/2006/relationships/tags" Target="../tags/tag558.xml"/><Relationship Id="rId198" Type="http://schemas.openxmlformats.org/officeDocument/2006/relationships/tags" Target="../tags/tag579.xml"/><Relationship Id="rId321" Type="http://schemas.openxmlformats.org/officeDocument/2006/relationships/tags" Target="../tags/tag702.xml"/><Relationship Id="rId342" Type="http://schemas.openxmlformats.org/officeDocument/2006/relationships/tags" Target="../tags/tag723.xml"/><Relationship Id="rId363" Type="http://schemas.openxmlformats.org/officeDocument/2006/relationships/tags" Target="../tags/tag744.xml"/><Relationship Id="rId384" Type="http://schemas.openxmlformats.org/officeDocument/2006/relationships/image" Target="../media/image1.png"/><Relationship Id="rId202" Type="http://schemas.openxmlformats.org/officeDocument/2006/relationships/tags" Target="../tags/tag583.xml"/><Relationship Id="rId223" Type="http://schemas.openxmlformats.org/officeDocument/2006/relationships/tags" Target="../tags/tag604.xml"/><Relationship Id="rId244" Type="http://schemas.openxmlformats.org/officeDocument/2006/relationships/tags" Target="../tags/tag625.xml"/><Relationship Id="rId18" Type="http://schemas.openxmlformats.org/officeDocument/2006/relationships/tags" Target="../tags/tag399.xml"/><Relationship Id="rId39" Type="http://schemas.openxmlformats.org/officeDocument/2006/relationships/tags" Target="../tags/tag420.xml"/><Relationship Id="rId265" Type="http://schemas.openxmlformats.org/officeDocument/2006/relationships/tags" Target="../tags/tag646.xml"/><Relationship Id="rId286" Type="http://schemas.openxmlformats.org/officeDocument/2006/relationships/tags" Target="../tags/tag667.xml"/><Relationship Id="rId50" Type="http://schemas.openxmlformats.org/officeDocument/2006/relationships/tags" Target="../tags/tag431.xml"/><Relationship Id="rId104" Type="http://schemas.openxmlformats.org/officeDocument/2006/relationships/tags" Target="../tags/tag485.xml"/><Relationship Id="rId125" Type="http://schemas.openxmlformats.org/officeDocument/2006/relationships/tags" Target="../tags/tag506.xml"/><Relationship Id="rId146" Type="http://schemas.openxmlformats.org/officeDocument/2006/relationships/tags" Target="../tags/tag527.xml"/><Relationship Id="rId167" Type="http://schemas.openxmlformats.org/officeDocument/2006/relationships/tags" Target="../tags/tag548.xml"/><Relationship Id="rId188" Type="http://schemas.openxmlformats.org/officeDocument/2006/relationships/tags" Target="../tags/tag569.xml"/><Relationship Id="rId311" Type="http://schemas.openxmlformats.org/officeDocument/2006/relationships/tags" Target="../tags/tag692.xml"/><Relationship Id="rId332" Type="http://schemas.openxmlformats.org/officeDocument/2006/relationships/tags" Target="../tags/tag713.xml"/><Relationship Id="rId353" Type="http://schemas.openxmlformats.org/officeDocument/2006/relationships/tags" Target="../tags/tag734.xml"/><Relationship Id="rId374" Type="http://schemas.openxmlformats.org/officeDocument/2006/relationships/tags" Target="../tags/tag755.xml"/><Relationship Id="rId395" Type="http://schemas.openxmlformats.org/officeDocument/2006/relationships/image" Target="../media/image12.png"/><Relationship Id="rId71" Type="http://schemas.openxmlformats.org/officeDocument/2006/relationships/tags" Target="../tags/tag452.xml"/><Relationship Id="rId92" Type="http://schemas.openxmlformats.org/officeDocument/2006/relationships/tags" Target="../tags/tag473.xml"/><Relationship Id="rId213" Type="http://schemas.openxmlformats.org/officeDocument/2006/relationships/tags" Target="../tags/tag594.xml"/><Relationship Id="rId234" Type="http://schemas.openxmlformats.org/officeDocument/2006/relationships/tags" Target="../tags/tag615.xml"/><Relationship Id="rId2" Type="http://schemas.openxmlformats.org/officeDocument/2006/relationships/tags" Target="../tags/tag383.xml"/><Relationship Id="rId29" Type="http://schemas.openxmlformats.org/officeDocument/2006/relationships/tags" Target="../tags/tag410.xml"/><Relationship Id="rId255" Type="http://schemas.openxmlformats.org/officeDocument/2006/relationships/tags" Target="../tags/tag636.xml"/><Relationship Id="rId276" Type="http://schemas.openxmlformats.org/officeDocument/2006/relationships/tags" Target="../tags/tag657.xml"/><Relationship Id="rId297" Type="http://schemas.openxmlformats.org/officeDocument/2006/relationships/tags" Target="../tags/tag678.xml"/><Relationship Id="rId40" Type="http://schemas.openxmlformats.org/officeDocument/2006/relationships/tags" Target="../tags/tag421.xml"/><Relationship Id="rId115" Type="http://schemas.openxmlformats.org/officeDocument/2006/relationships/tags" Target="../tags/tag496.xml"/><Relationship Id="rId136" Type="http://schemas.openxmlformats.org/officeDocument/2006/relationships/tags" Target="../tags/tag517.xml"/><Relationship Id="rId157" Type="http://schemas.openxmlformats.org/officeDocument/2006/relationships/tags" Target="../tags/tag538.xml"/><Relationship Id="rId178" Type="http://schemas.openxmlformats.org/officeDocument/2006/relationships/tags" Target="../tags/tag559.xml"/><Relationship Id="rId301" Type="http://schemas.openxmlformats.org/officeDocument/2006/relationships/tags" Target="../tags/tag682.xml"/><Relationship Id="rId322" Type="http://schemas.openxmlformats.org/officeDocument/2006/relationships/tags" Target="../tags/tag703.xml"/><Relationship Id="rId343" Type="http://schemas.openxmlformats.org/officeDocument/2006/relationships/tags" Target="../tags/tag724.xml"/><Relationship Id="rId364" Type="http://schemas.openxmlformats.org/officeDocument/2006/relationships/tags" Target="../tags/tag745.xml"/><Relationship Id="rId61" Type="http://schemas.openxmlformats.org/officeDocument/2006/relationships/tags" Target="../tags/tag442.xml"/><Relationship Id="rId82" Type="http://schemas.openxmlformats.org/officeDocument/2006/relationships/tags" Target="../tags/tag463.xml"/><Relationship Id="rId199" Type="http://schemas.openxmlformats.org/officeDocument/2006/relationships/tags" Target="../tags/tag580.xml"/><Relationship Id="rId203" Type="http://schemas.openxmlformats.org/officeDocument/2006/relationships/tags" Target="../tags/tag584.xml"/><Relationship Id="rId385" Type="http://schemas.openxmlformats.org/officeDocument/2006/relationships/image" Target="../media/image2.png"/><Relationship Id="rId19" Type="http://schemas.openxmlformats.org/officeDocument/2006/relationships/tags" Target="../tags/tag400.xml"/><Relationship Id="rId224" Type="http://schemas.openxmlformats.org/officeDocument/2006/relationships/tags" Target="../tags/tag605.xml"/><Relationship Id="rId245" Type="http://schemas.openxmlformats.org/officeDocument/2006/relationships/tags" Target="../tags/tag626.xml"/><Relationship Id="rId266" Type="http://schemas.openxmlformats.org/officeDocument/2006/relationships/tags" Target="../tags/tag647.xml"/><Relationship Id="rId287" Type="http://schemas.openxmlformats.org/officeDocument/2006/relationships/tags" Target="../tags/tag668.xml"/><Relationship Id="rId30" Type="http://schemas.openxmlformats.org/officeDocument/2006/relationships/tags" Target="../tags/tag411.xml"/><Relationship Id="rId105" Type="http://schemas.openxmlformats.org/officeDocument/2006/relationships/tags" Target="../tags/tag486.xml"/><Relationship Id="rId126" Type="http://schemas.openxmlformats.org/officeDocument/2006/relationships/tags" Target="../tags/tag507.xml"/><Relationship Id="rId147" Type="http://schemas.openxmlformats.org/officeDocument/2006/relationships/tags" Target="../tags/tag528.xml"/><Relationship Id="rId168" Type="http://schemas.openxmlformats.org/officeDocument/2006/relationships/tags" Target="../tags/tag549.xml"/><Relationship Id="rId312" Type="http://schemas.openxmlformats.org/officeDocument/2006/relationships/tags" Target="../tags/tag693.xml"/><Relationship Id="rId333" Type="http://schemas.openxmlformats.org/officeDocument/2006/relationships/tags" Target="../tags/tag714.xml"/><Relationship Id="rId354" Type="http://schemas.openxmlformats.org/officeDocument/2006/relationships/tags" Target="../tags/tag735.xml"/><Relationship Id="rId51" Type="http://schemas.openxmlformats.org/officeDocument/2006/relationships/tags" Target="../tags/tag432.xml"/><Relationship Id="rId72" Type="http://schemas.openxmlformats.org/officeDocument/2006/relationships/tags" Target="../tags/tag453.xml"/><Relationship Id="rId93" Type="http://schemas.openxmlformats.org/officeDocument/2006/relationships/tags" Target="../tags/tag474.xml"/><Relationship Id="rId189" Type="http://schemas.openxmlformats.org/officeDocument/2006/relationships/tags" Target="../tags/tag570.xml"/><Relationship Id="rId375" Type="http://schemas.openxmlformats.org/officeDocument/2006/relationships/tags" Target="../tags/tag756.xml"/><Relationship Id="rId396" Type="http://schemas.openxmlformats.org/officeDocument/2006/relationships/image" Target="../media/image13.png"/><Relationship Id="rId3" Type="http://schemas.openxmlformats.org/officeDocument/2006/relationships/tags" Target="../tags/tag384.xml"/><Relationship Id="rId214" Type="http://schemas.openxmlformats.org/officeDocument/2006/relationships/tags" Target="../tags/tag595.xml"/><Relationship Id="rId235" Type="http://schemas.openxmlformats.org/officeDocument/2006/relationships/tags" Target="../tags/tag616.xml"/><Relationship Id="rId256" Type="http://schemas.openxmlformats.org/officeDocument/2006/relationships/tags" Target="../tags/tag637.xml"/><Relationship Id="rId277" Type="http://schemas.openxmlformats.org/officeDocument/2006/relationships/tags" Target="../tags/tag658.xml"/><Relationship Id="rId298" Type="http://schemas.openxmlformats.org/officeDocument/2006/relationships/tags" Target="../tags/tag679.xml"/><Relationship Id="rId400" Type="http://schemas.openxmlformats.org/officeDocument/2006/relationships/image" Target="../media/image17.png"/><Relationship Id="rId116" Type="http://schemas.openxmlformats.org/officeDocument/2006/relationships/tags" Target="../tags/tag497.xml"/><Relationship Id="rId137" Type="http://schemas.openxmlformats.org/officeDocument/2006/relationships/tags" Target="../tags/tag518.xml"/><Relationship Id="rId158" Type="http://schemas.openxmlformats.org/officeDocument/2006/relationships/tags" Target="../tags/tag539.xml"/><Relationship Id="rId302" Type="http://schemas.openxmlformats.org/officeDocument/2006/relationships/tags" Target="../tags/tag683.xml"/><Relationship Id="rId323" Type="http://schemas.openxmlformats.org/officeDocument/2006/relationships/tags" Target="../tags/tag704.xml"/><Relationship Id="rId344" Type="http://schemas.openxmlformats.org/officeDocument/2006/relationships/tags" Target="../tags/tag725.xml"/><Relationship Id="rId20" Type="http://schemas.openxmlformats.org/officeDocument/2006/relationships/tags" Target="../tags/tag401.xml"/><Relationship Id="rId41" Type="http://schemas.openxmlformats.org/officeDocument/2006/relationships/tags" Target="../tags/tag422.xml"/><Relationship Id="rId62" Type="http://schemas.openxmlformats.org/officeDocument/2006/relationships/tags" Target="../tags/tag443.xml"/><Relationship Id="rId83" Type="http://schemas.openxmlformats.org/officeDocument/2006/relationships/tags" Target="../tags/tag464.xml"/><Relationship Id="rId179" Type="http://schemas.openxmlformats.org/officeDocument/2006/relationships/tags" Target="../tags/tag560.xml"/><Relationship Id="rId365" Type="http://schemas.openxmlformats.org/officeDocument/2006/relationships/tags" Target="../tags/tag746.xml"/><Relationship Id="rId386" Type="http://schemas.openxmlformats.org/officeDocument/2006/relationships/image" Target="../media/image3.png"/><Relationship Id="rId190" Type="http://schemas.openxmlformats.org/officeDocument/2006/relationships/tags" Target="../tags/tag571.xml"/><Relationship Id="rId204" Type="http://schemas.openxmlformats.org/officeDocument/2006/relationships/tags" Target="../tags/tag585.xml"/><Relationship Id="rId225" Type="http://schemas.openxmlformats.org/officeDocument/2006/relationships/tags" Target="../tags/tag606.xml"/><Relationship Id="rId246" Type="http://schemas.openxmlformats.org/officeDocument/2006/relationships/tags" Target="../tags/tag627.xml"/><Relationship Id="rId267" Type="http://schemas.openxmlformats.org/officeDocument/2006/relationships/tags" Target="../tags/tag648.xml"/><Relationship Id="rId288" Type="http://schemas.openxmlformats.org/officeDocument/2006/relationships/tags" Target="../tags/tag669.xml"/><Relationship Id="rId106" Type="http://schemas.openxmlformats.org/officeDocument/2006/relationships/tags" Target="../tags/tag487.xml"/><Relationship Id="rId127" Type="http://schemas.openxmlformats.org/officeDocument/2006/relationships/tags" Target="../tags/tag508.xml"/><Relationship Id="rId313" Type="http://schemas.openxmlformats.org/officeDocument/2006/relationships/tags" Target="../tags/tag694.xml"/><Relationship Id="rId10" Type="http://schemas.openxmlformats.org/officeDocument/2006/relationships/tags" Target="../tags/tag391.xml"/><Relationship Id="rId31" Type="http://schemas.openxmlformats.org/officeDocument/2006/relationships/tags" Target="../tags/tag412.xml"/><Relationship Id="rId52" Type="http://schemas.openxmlformats.org/officeDocument/2006/relationships/tags" Target="../tags/tag433.xml"/><Relationship Id="rId73" Type="http://schemas.openxmlformats.org/officeDocument/2006/relationships/tags" Target="../tags/tag454.xml"/><Relationship Id="rId94" Type="http://schemas.openxmlformats.org/officeDocument/2006/relationships/tags" Target="../tags/tag475.xml"/><Relationship Id="rId148" Type="http://schemas.openxmlformats.org/officeDocument/2006/relationships/tags" Target="../tags/tag529.xml"/><Relationship Id="rId169" Type="http://schemas.openxmlformats.org/officeDocument/2006/relationships/tags" Target="../tags/tag550.xml"/><Relationship Id="rId334" Type="http://schemas.openxmlformats.org/officeDocument/2006/relationships/tags" Target="../tags/tag715.xml"/><Relationship Id="rId355" Type="http://schemas.openxmlformats.org/officeDocument/2006/relationships/tags" Target="../tags/tag736.xml"/><Relationship Id="rId376" Type="http://schemas.openxmlformats.org/officeDocument/2006/relationships/tags" Target="../tags/tag757.xml"/><Relationship Id="rId397" Type="http://schemas.openxmlformats.org/officeDocument/2006/relationships/image" Target="../media/image14.png"/><Relationship Id="rId4" Type="http://schemas.openxmlformats.org/officeDocument/2006/relationships/tags" Target="../tags/tag385.xml"/><Relationship Id="rId180" Type="http://schemas.openxmlformats.org/officeDocument/2006/relationships/tags" Target="../tags/tag561.xml"/><Relationship Id="rId215" Type="http://schemas.openxmlformats.org/officeDocument/2006/relationships/tags" Target="../tags/tag596.xml"/><Relationship Id="rId236" Type="http://schemas.openxmlformats.org/officeDocument/2006/relationships/tags" Target="../tags/tag617.xml"/><Relationship Id="rId257" Type="http://schemas.openxmlformats.org/officeDocument/2006/relationships/tags" Target="../tags/tag638.xml"/><Relationship Id="rId278" Type="http://schemas.openxmlformats.org/officeDocument/2006/relationships/tags" Target="../tags/tag659.xml"/><Relationship Id="rId401" Type="http://schemas.openxmlformats.org/officeDocument/2006/relationships/image" Target="../media/image18.png"/><Relationship Id="rId303" Type="http://schemas.openxmlformats.org/officeDocument/2006/relationships/tags" Target="../tags/tag684.xml"/><Relationship Id="rId42" Type="http://schemas.openxmlformats.org/officeDocument/2006/relationships/tags" Target="../tags/tag423.xml"/><Relationship Id="rId84" Type="http://schemas.openxmlformats.org/officeDocument/2006/relationships/tags" Target="../tags/tag465.xml"/><Relationship Id="rId138" Type="http://schemas.openxmlformats.org/officeDocument/2006/relationships/tags" Target="../tags/tag519.xml"/><Relationship Id="rId345" Type="http://schemas.openxmlformats.org/officeDocument/2006/relationships/tags" Target="../tags/tag726.xml"/><Relationship Id="rId387" Type="http://schemas.openxmlformats.org/officeDocument/2006/relationships/image" Target="../media/image4.png"/><Relationship Id="rId191" Type="http://schemas.openxmlformats.org/officeDocument/2006/relationships/tags" Target="../tags/tag572.xml"/><Relationship Id="rId205" Type="http://schemas.openxmlformats.org/officeDocument/2006/relationships/tags" Target="../tags/tag586.xml"/><Relationship Id="rId247" Type="http://schemas.openxmlformats.org/officeDocument/2006/relationships/tags" Target="../tags/tag62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879.xml"/><Relationship Id="rId299" Type="http://schemas.openxmlformats.org/officeDocument/2006/relationships/tags" Target="../tags/tag1061.xml"/><Relationship Id="rId303" Type="http://schemas.openxmlformats.org/officeDocument/2006/relationships/tags" Target="../tags/tag1065.xml"/><Relationship Id="rId21" Type="http://schemas.openxmlformats.org/officeDocument/2006/relationships/tags" Target="../tags/tag783.xml"/><Relationship Id="rId42" Type="http://schemas.openxmlformats.org/officeDocument/2006/relationships/tags" Target="../tags/tag804.xml"/><Relationship Id="rId63" Type="http://schemas.openxmlformats.org/officeDocument/2006/relationships/tags" Target="../tags/tag825.xml"/><Relationship Id="rId84" Type="http://schemas.openxmlformats.org/officeDocument/2006/relationships/tags" Target="../tags/tag846.xml"/><Relationship Id="rId138" Type="http://schemas.openxmlformats.org/officeDocument/2006/relationships/tags" Target="../tags/tag900.xml"/><Relationship Id="rId159" Type="http://schemas.openxmlformats.org/officeDocument/2006/relationships/tags" Target="../tags/tag921.xml"/><Relationship Id="rId324" Type="http://schemas.openxmlformats.org/officeDocument/2006/relationships/tags" Target="../tags/tag1086.xml"/><Relationship Id="rId345" Type="http://schemas.openxmlformats.org/officeDocument/2006/relationships/tags" Target="../tags/tag1107.xml"/><Relationship Id="rId366" Type="http://schemas.openxmlformats.org/officeDocument/2006/relationships/tags" Target="../tags/tag1128.xml"/><Relationship Id="rId170" Type="http://schemas.openxmlformats.org/officeDocument/2006/relationships/tags" Target="../tags/tag932.xml"/><Relationship Id="rId191" Type="http://schemas.openxmlformats.org/officeDocument/2006/relationships/tags" Target="../tags/tag953.xml"/><Relationship Id="rId205" Type="http://schemas.openxmlformats.org/officeDocument/2006/relationships/tags" Target="../tags/tag967.xml"/><Relationship Id="rId226" Type="http://schemas.openxmlformats.org/officeDocument/2006/relationships/tags" Target="../tags/tag988.xml"/><Relationship Id="rId247" Type="http://schemas.openxmlformats.org/officeDocument/2006/relationships/tags" Target="../tags/tag1009.xml"/><Relationship Id="rId107" Type="http://schemas.openxmlformats.org/officeDocument/2006/relationships/tags" Target="../tags/tag869.xml"/><Relationship Id="rId268" Type="http://schemas.openxmlformats.org/officeDocument/2006/relationships/tags" Target="../tags/tag1030.xml"/><Relationship Id="rId289" Type="http://schemas.openxmlformats.org/officeDocument/2006/relationships/tags" Target="../tags/tag1051.xml"/><Relationship Id="rId11" Type="http://schemas.openxmlformats.org/officeDocument/2006/relationships/tags" Target="../tags/tag773.xml"/><Relationship Id="rId32" Type="http://schemas.openxmlformats.org/officeDocument/2006/relationships/tags" Target="../tags/tag794.xml"/><Relationship Id="rId53" Type="http://schemas.openxmlformats.org/officeDocument/2006/relationships/tags" Target="../tags/tag815.xml"/><Relationship Id="rId74" Type="http://schemas.openxmlformats.org/officeDocument/2006/relationships/tags" Target="../tags/tag836.xml"/><Relationship Id="rId128" Type="http://schemas.openxmlformats.org/officeDocument/2006/relationships/tags" Target="../tags/tag890.xml"/><Relationship Id="rId149" Type="http://schemas.openxmlformats.org/officeDocument/2006/relationships/tags" Target="../tags/tag911.xml"/><Relationship Id="rId314" Type="http://schemas.openxmlformats.org/officeDocument/2006/relationships/tags" Target="../tags/tag1076.xml"/><Relationship Id="rId335" Type="http://schemas.openxmlformats.org/officeDocument/2006/relationships/tags" Target="../tags/tag1097.xml"/><Relationship Id="rId356" Type="http://schemas.openxmlformats.org/officeDocument/2006/relationships/tags" Target="../tags/tag1118.xml"/><Relationship Id="rId377" Type="http://schemas.openxmlformats.org/officeDocument/2006/relationships/tags" Target="../tags/tag1139.xml"/><Relationship Id="rId5" Type="http://schemas.openxmlformats.org/officeDocument/2006/relationships/tags" Target="../tags/tag767.xml"/><Relationship Id="rId95" Type="http://schemas.openxmlformats.org/officeDocument/2006/relationships/tags" Target="../tags/tag857.xml"/><Relationship Id="rId160" Type="http://schemas.openxmlformats.org/officeDocument/2006/relationships/tags" Target="../tags/tag922.xml"/><Relationship Id="rId181" Type="http://schemas.openxmlformats.org/officeDocument/2006/relationships/tags" Target="../tags/tag943.xml"/><Relationship Id="rId216" Type="http://schemas.openxmlformats.org/officeDocument/2006/relationships/tags" Target="../tags/tag978.xml"/><Relationship Id="rId237" Type="http://schemas.openxmlformats.org/officeDocument/2006/relationships/tags" Target="../tags/tag999.xml"/><Relationship Id="rId258" Type="http://schemas.openxmlformats.org/officeDocument/2006/relationships/tags" Target="../tags/tag1020.xml"/><Relationship Id="rId279" Type="http://schemas.openxmlformats.org/officeDocument/2006/relationships/tags" Target="../tags/tag1041.xml"/><Relationship Id="rId22" Type="http://schemas.openxmlformats.org/officeDocument/2006/relationships/tags" Target="../tags/tag784.xml"/><Relationship Id="rId43" Type="http://schemas.openxmlformats.org/officeDocument/2006/relationships/tags" Target="../tags/tag805.xml"/><Relationship Id="rId64" Type="http://schemas.openxmlformats.org/officeDocument/2006/relationships/tags" Target="../tags/tag826.xml"/><Relationship Id="rId118" Type="http://schemas.openxmlformats.org/officeDocument/2006/relationships/tags" Target="../tags/tag880.xml"/><Relationship Id="rId139" Type="http://schemas.openxmlformats.org/officeDocument/2006/relationships/tags" Target="../tags/tag901.xml"/><Relationship Id="rId290" Type="http://schemas.openxmlformats.org/officeDocument/2006/relationships/tags" Target="../tags/tag1052.xml"/><Relationship Id="rId304" Type="http://schemas.openxmlformats.org/officeDocument/2006/relationships/tags" Target="../tags/tag1066.xml"/><Relationship Id="rId325" Type="http://schemas.openxmlformats.org/officeDocument/2006/relationships/tags" Target="../tags/tag1087.xml"/><Relationship Id="rId346" Type="http://schemas.openxmlformats.org/officeDocument/2006/relationships/tags" Target="../tags/tag1108.xml"/><Relationship Id="rId367" Type="http://schemas.openxmlformats.org/officeDocument/2006/relationships/tags" Target="../tags/tag1129.xml"/><Relationship Id="rId85" Type="http://schemas.openxmlformats.org/officeDocument/2006/relationships/tags" Target="../tags/tag847.xml"/><Relationship Id="rId150" Type="http://schemas.openxmlformats.org/officeDocument/2006/relationships/tags" Target="../tags/tag912.xml"/><Relationship Id="rId171" Type="http://schemas.openxmlformats.org/officeDocument/2006/relationships/tags" Target="../tags/tag933.xml"/><Relationship Id="rId192" Type="http://schemas.openxmlformats.org/officeDocument/2006/relationships/tags" Target="../tags/tag954.xml"/><Relationship Id="rId206" Type="http://schemas.openxmlformats.org/officeDocument/2006/relationships/tags" Target="../tags/tag968.xml"/><Relationship Id="rId227" Type="http://schemas.openxmlformats.org/officeDocument/2006/relationships/tags" Target="../tags/tag989.xml"/><Relationship Id="rId248" Type="http://schemas.openxmlformats.org/officeDocument/2006/relationships/tags" Target="../tags/tag1010.xml"/><Relationship Id="rId269" Type="http://schemas.openxmlformats.org/officeDocument/2006/relationships/tags" Target="../tags/tag1031.xml"/><Relationship Id="rId12" Type="http://schemas.openxmlformats.org/officeDocument/2006/relationships/tags" Target="../tags/tag774.xml"/><Relationship Id="rId33" Type="http://schemas.openxmlformats.org/officeDocument/2006/relationships/tags" Target="../tags/tag795.xml"/><Relationship Id="rId108" Type="http://schemas.openxmlformats.org/officeDocument/2006/relationships/tags" Target="../tags/tag870.xml"/><Relationship Id="rId129" Type="http://schemas.openxmlformats.org/officeDocument/2006/relationships/tags" Target="../tags/tag891.xml"/><Relationship Id="rId280" Type="http://schemas.openxmlformats.org/officeDocument/2006/relationships/tags" Target="../tags/tag1042.xml"/><Relationship Id="rId315" Type="http://schemas.openxmlformats.org/officeDocument/2006/relationships/tags" Target="../tags/tag1077.xml"/><Relationship Id="rId336" Type="http://schemas.openxmlformats.org/officeDocument/2006/relationships/tags" Target="../tags/tag1098.xml"/><Relationship Id="rId357" Type="http://schemas.openxmlformats.org/officeDocument/2006/relationships/tags" Target="../tags/tag1119.xml"/><Relationship Id="rId54" Type="http://schemas.openxmlformats.org/officeDocument/2006/relationships/tags" Target="../tags/tag816.xml"/><Relationship Id="rId75" Type="http://schemas.openxmlformats.org/officeDocument/2006/relationships/tags" Target="../tags/tag837.xml"/><Relationship Id="rId96" Type="http://schemas.openxmlformats.org/officeDocument/2006/relationships/tags" Target="../tags/tag858.xml"/><Relationship Id="rId140" Type="http://schemas.openxmlformats.org/officeDocument/2006/relationships/tags" Target="../tags/tag902.xml"/><Relationship Id="rId161" Type="http://schemas.openxmlformats.org/officeDocument/2006/relationships/tags" Target="../tags/tag923.xml"/><Relationship Id="rId182" Type="http://schemas.openxmlformats.org/officeDocument/2006/relationships/tags" Target="../tags/tag944.xml"/><Relationship Id="rId217" Type="http://schemas.openxmlformats.org/officeDocument/2006/relationships/tags" Target="../tags/tag979.xml"/><Relationship Id="rId378" Type="http://schemas.openxmlformats.org/officeDocument/2006/relationships/tags" Target="../tags/tag1140.xml"/><Relationship Id="rId6" Type="http://schemas.openxmlformats.org/officeDocument/2006/relationships/tags" Target="../tags/tag768.xml"/><Relationship Id="rId238" Type="http://schemas.openxmlformats.org/officeDocument/2006/relationships/tags" Target="../tags/tag1000.xml"/><Relationship Id="rId259" Type="http://schemas.openxmlformats.org/officeDocument/2006/relationships/tags" Target="../tags/tag1021.xml"/><Relationship Id="rId23" Type="http://schemas.openxmlformats.org/officeDocument/2006/relationships/tags" Target="../tags/tag785.xml"/><Relationship Id="rId119" Type="http://schemas.openxmlformats.org/officeDocument/2006/relationships/tags" Target="../tags/tag881.xml"/><Relationship Id="rId270" Type="http://schemas.openxmlformats.org/officeDocument/2006/relationships/tags" Target="../tags/tag1032.xml"/><Relationship Id="rId291" Type="http://schemas.openxmlformats.org/officeDocument/2006/relationships/tags" Target="../tags/tag1053.xml"/><Relationship Id="rId305" Type="http://schemas.openxmlformats.org/officeDocument/2006/relationships/tags" Target="../tags/tag1067.xml"/><Relationship Id="rId326" Type="http://schemas.openxmlformats.org/officeDocument/2006/relationships/tags" Target="../tags/tag1088.xml"/><Relationship Id="rId347" Type="http://schemas.openxmlformats.org/officeDocument/2006/relationships/tags" Target="../tags/tag1109.xml"/><Relationship Id="rId44" Type="http://schemas.openxmlformats.org/officeDocument/2006/relationships/tags" Target="../tags/tag806.xml"/><Relationship Id="rId65" Type="http://schemas.openxmlformats.org/officeDocument/2006/relationships/tags" Target="../tags/tag827.xml"/><Relationship Id="rId86" Type="http://schemas.openxmlformats.org/officeDocument/2006/relationships/tags" Target="../tags/tag848.xml"/><Relationship Id="rId130" Type="http://schemas.openxmlformats.org/officeDocument/2006/relationships/tags" Target="../tags/tag892.xml"/><Relationship Id="rId151" Type="http://schemas.openxmlformats.org/officeDocument/2006/relationships/tags" Target="../tags/tag913.xml"/><Relationship Id="rId368" Type="http://schemas.openxmlformats.org/officeDocument/2006/relationships/tags" Target="../tags/tag1130.xml"/><Relationship Id="rId172" Type="http://schemas.openxmlformats.org/officeDocument/2006/relationships/tags" Target="../tags/tag934.xml"/><Relationship Id="rId193" Type="http://schemas.openxmlformats.org/officeDocument/2006/relationships/tags" Target="../tags/tag955.xml"/><Relationship Id="rId207" Type="http://schemas.openxmlformats.org/officeDocument/2006/relationships/tags" Target="../tags/tag969.xml"/><Relationship Id="rId228" Type="http://schemas.openxmlformats.org/officeDocument/2006/relationships/tags" Target="../tags/tag990.xml"/><Relationship Id="rId249" Type="http://schemas.openxmlformats.org/officeDocument/2006/relationships/tags" Target="../tags/tag1011.xml"/><Relationship Id="rId13" Type="http://schemas.openxmlformats.org/officeDocument/2006/relationships/tags" Target="../tags/tag775.xml"/><Relationship Id="rId109" Type="http://schemas.openxmlformats.org/officeDocument/2006/relationships/tags" Target="../tags/tag871.xml"/><Relationship Id="rId260" Type="http://schemas.openxmlformats.org/officeDocument/2006/relationships/tags" Target="../tags/tag1022.xml"/><Relationship Id="rId281" Type="http://schemas.openxmlformats.org/officeDocument/2006/relationships/tags" Target="../tags/tag1043.xml"/><Relationship Id="rId316" Type="http://schemas.openxmlformats.org/officeDocument/2006/relationships/tags" Target="../tags/tag1078.xml"/><Relationship Id="rId337" Type="http://schemas.openxmlformats.org/officeDocument/2006/relationships/tags" Target="../tags/tag1099.xml"/><Relationship Id="rId34" Type="http://schemas.openxmlformats.org/officeDocument/2006/relationships/tags" Target="../tags/tag796.xml"/><Relationship Id="rId55" Type="http://schemas.openxmlformats.org/officeDocument/2006/relationships/tags" Target="../tags/tag817.xml"/><Relationship Id="rId76" Type="http://schemas.openxmlformats.org/officeDocument/2006/relationships/tags" Target="../tags/tag838.xml"/><Relationship Id="rId97" Type="http://schemas.openxmlformats.org/officeDocument/2006/relationships/tags" Target="../tags/tag859.xml"/><Relationship Id="rId120" Type="http://schemas.openxmlformats.org/officeDocument/2006/relationships/tags" Target="../tags/tag882.xml"/><Relationship Id="rId141" Type="http://schemas.openxmlformats.org/officeDocument/2006/relationships/tags" Target="../tags/tag903.xml"/><Relationship Id="rId358" Type="http://schemas.openxmlformats.org/officeDocument/2006/relationships/tags" Target="../tags/tag1120.xml"/><Relationship Id="rId379" Type="http://schemas.openxmlformats.org/officeDocument/2006/relationships/tags" Target="../tags/tag1141.xml"/><Relationship Id="rId7" Type="http://schemas.openxmlformats.org/officeDocument/2006/relationships/tags" Target="../tags/tag769.xml"/><Relationship Id="rId162" Type="http://schemas.openxmlformats.org/officeDocument/2006/relationships/tags" Target="../tags/tag924.xml"/><Relationship Id="rId183" Type="http://schemas.openxmlformats.org/officeDocument/2006/relationships/tags" Target="../tags/tag945.xml"/><Relationship Id="rId218" Type="http://schemas.openxmlformats.org/officeDocument/2006/relationships/tags" Target="../tags/tag980.xml"/><Relationship Id="rId239" Type="http://schemas.openxmlformats.org/officeDocument/2006/relationships/tags" Target="../tags/tag1001.xml"/><Relationship Id="rId250" Type="http://schemas.openxmlformats.org/officeDocument/2006/relationships/tags" Target="../tags/tag1012.xml"/><Relationship Id="rId271" Type="http://schemas.openxmlformats.org/officeDocument/2006/relationships/tags" Target="../tags/tag1033.xml"/><Relationship Id="rId292" Type="http://schemas.openxmlformats.org/officeDocument/2006/relationships/tags" Target="../tags/tag1054.xml"/><Relationship Id="rId306" Type="http://schemas.openxmlformats.org/officeDocument/2006/relationships/tags" Target="../tags/tag1068.xml"/><Relationship Id="rId24" Type="http://schemas.openxmlformats.org/officeDocument/2006/relationships/tags" Target="../tags/tag786.xml"/><Relationship Id="rId45" Type="http://schemas.openxmlformats.org/officeDocument/2006/relationships/tags" Target="../tags/tag807.xml"/><Relationship Id="rId66" Type="http://schemas.openxmlformats.org/officeDocument/2006/relationships/tags" Target="../tags/tag828.xml"/><Relationship Id="rId87" Type="http://schemas.openxmlformats.org/officeDocument/2006/relationships/tags" Target="../tags/tag849.xml"/><Relationship Id="rId110" Type="http://schemas.openxmlformats.org/officeDocument/2006/relationships/tags" Target="../tags/tag872.xml"/><Relationship Id="rId131" Type="http://schemas.openxmlformats.org/officeDocument/2006/relationships/tags" Target="../tags/tag893.xml"/><Relationship Id="rId327" Type="http://schemas.openxmlformats.org/officeDocument/2006/relationships/tags" Target="../tags/tag1089.xml"/><Relationship Id="rId348" Type="http://schemas.openxmlformats.org/officeDocument/2006/relationships/tags" Target="../tags/tag1110.xml"/><Relationship Id="rId369" Type="http://schemas.openxmlformats.org/officeDocument/2006/relationships/tags" Target="../tags/tag1131.xml"/><Relationship Id="rId152" Type="http://schemas.openxmlformats.org/officeDocument/2006/relationships/tags" Target="../tags/tag914.xml"/><Relationship Id="rId173" Type="http://schemas.openxmlformats.org/officeDocument/2006/relationships/tags" Target="../tags/tag935.xml"/><Relationship Id="rId194" Type="http://schemas.openxmlformats.org/officeDocument/2006/relationships/tags" Target="../tags/tag956.xml"/><Relationship Id="rId208" Type="http://schemas.openxmlformats.org/officeDocument/2006/relationships/tags" Target="../tags/tag970.xml"/><Relationship Id="rId229" Type="http://schemas.openxmlformats.org/officeDocument/2006/relationships/tags" Target="../tags/tag991.xml"/><Relationship Id="rId380" Type="http://schemas.openxmlformats.org/officeDocument/2006/relationships/tags" Target="../tags/tag1142.xml"/><Relationship Id="rId240" Type="http://schemas.openxmlformats.org/officeDocument/2006/relationships/tags" Target="../tags/tag1002.xml"/><Relationship Id="rId261" Type="http://schemas.openxmlformats.org/officeDocument/2006/relationships/tags" Target="../tags/tag1023.xml"/><Relationship Id="rId14" Type="http://schemas.openxmlformats.org/officeDocument/2006/relationships/tags" Target="../tags/tag776.xml"/><Relationship Id="rId35" Type="http://schemas.openxmlformats.org/officeDocument/2006/relationships/tags" Target="../tags/tag797.xml"/><Relationship Id="rId56" Type="http://schemas.openxmlformats.org/officeDocument/2006/relationships/tags" Target="../tags/tag818.xml"/><Relationship Id="rId77" Type="http://schemas.openxmlformats.org/officeDocument/2006/relationships/tags" Target="../tags/tag839.xml"/><Relationship Id="rId100" Type="http://schemas.openxmlformats.org/officeDocument/2006/relationships/tags" Target="../tags/tag862.xml"/><Relationship Id="rId282" Type="http://schemas.openxmlformats.org/officeDocument/2006/relationships/tags" Target="../tags/tag1044.xml"/><Relationship Id="rId317" Type="http://schemas.openxmlformats.org/officeDocument/2006/relationships/tags" Target="../tags/tag1079.xml"/><Relationship Id="rId338" Type="http://schemas.openxmlformats.org/officeDocument/2006/relationships/tags" Target="../tags/tag1100.xml"/><Relationship Id="rId359" Type="http://schemas.openxmlformats.org/officeDocument/2006/relationships/tags" Target="../tags/tag1121.xml"/><Relationship Id="rId8" Type="http://schemas.openxmlformats.org/officeDocument/2006/relationships/tags" Target="../tags/tag770.xml"/><Relationship Id="rId98" Type="http://schemas.openxmlformats.org/officeDocument/2006/relationships/tags" Target="../tags/tag860.xml"/><Relationship Id="rId121" Type="http://schemas.openxmlformats.org/officeDocument/2006/relationships/tags" Target="../tags/tag883.xml"/><Relationship Id="rId142" Type="http://schemas.openxmlformats.org/officeDocument/2006/relationships/tags" Target="../tags/tag904.xml"/><Relationship Id="rId163" Type="http://schemas.openxmlformats.org/officeDocument/2006/relationships/tags" Target="../tags/tag925.xml"/><Relationship Id="rId184" Type="http://schemas.openxmlformats.org/officeDocument/2006/relationships/tags" Target="../tags/tag946.xml"/><Relationship Id="rId219" Type="http://schemas.openxmlformats.org/officeDocument/2006/relationships/tags" Target="../tags/tag981.xml"/><Relationship Id="rId370" Type="http://schemas.openxmlformats.org/officeDocument/2006/relationships/tags" Target="../tags/tag1132.xml"/><Relationship Id="rId230" Type="http://schemas.openxmlformats.org/officeDocument/2006/relationships/tags" Target="../tags/tag992.xml"/><Relationship Id="rId251" Type="http://schemas.openxmlformats.org/officeDocument/2006/relationships/tags" Target="../tags/tag1013.xml"/><Relationship Id="rId25" Type="http://schemas.openxmlformats.org/officeDocument/2006/relationships/tags" Target="../tags/tag787.xml"/><Relationship Id="rId46" Type="http://schemas.openxmlformats.org/officeDocument/2006/relationships/tags" Target="../tags/tag808.xml"/><Relationship Id="rId67" Type="http://schemas.openxmlformats.org/officeDocument/2006/relationships/tags" Target="../tags/tag829.xml"/><Relationship Id="rId272" Type="http://schemas.openxmlformats.org/officeDocument/2006/relationships/tags" Target="../tags/tag1034.xml"/><Relationship Id="rId293" Type="http://schemas.openxmlformats.org/officeDocument/2006/relationships/tags" Target="../tags/tag1055.xml"/><Relationship Id="rId307" Type="http://schemas.openxmlformats.org/officeDocument/2006/relationships/tags" Target="../tags/tag1069.xml"/><Relationship Id="rId328" Type="http://schemas.openxmlformats.org/officeDocument/2006/relationships/tags" Target="../tags/tag1090.xml"/><Relationship Id="rId349" Type="http://schemas.openxmlformats.org/officeDocument/2006/relationships/tags" Target="../tags/tag1111.xml"/><Relationship Id="rId88" Type="http://schemas.openxmlformats.org/officeDocument/2006/relationships/tags" Target="../tags/tag850.xml"/><Relationship Id="rId111" Type="http://schemas.openxmlformats.org/officeDocument/2006/relationships/tags" Target="../tags/tag873.xml"/><Relationship Id="rId132" Type="http://schemas.openxmlformats.org/officeDocument/2006/relationships/tags" Target="../tags/tag894.xml"/><Relationship Id="rId153" Type="http://schemas.openxmlformats.org/officeDocument/2006/relationships/tags" Target="../tags/tag915.xml"/><Relationship Id="rId174" Type="http://schemas.openxmlformats.org/officeDocument/2006/relationships/tags" Target="../tags/tag936.xml"/><Relationship Id="rId195" Type="http://schemas.openxmlformats.org/officeDocument/2006/relationships/tags" Target="../tags/tag957.xml"/><Relationship Id="rId209" Type="http://schemas.openxmlformats.org/officeDocument/2006/relationships/tags" Target="../tags/tag971.xml"/><Relationship Id="rId360" Type="http://schemas.openxmlformats.org/officeDocument/2006/relationships/tags" Target="../tags/tag1122.xml"/><Relationship Id="rId381" Type="http://schemas.openxmlformats.org/officeDocument/2006/relationships/tags" Target="../tags/tag1143.xml"/><Relationship Id="rId220" Type="http://schemas.openxmlformats.org/officeDocument/2006/relationships/tags" Target="../tags/tag982.xml"/><Relationship Id="rId241" Type="http://schemas.openxmlformats.org/officeDocument/2006/relationships/tags" Target="../tags/tag1003.xml"/><Relationship Id="rId15" Type="http://schemas.openxmlformats.org/officeDocument/2006/relationships/tags" Target="../tags/tag777.xml"/><Relationship Id="rId36" Type="http://schemas.openxmlformats.org/officeDocument/2006/relationships/tags" Target="../tags/tag798.xml"/><Relationship Id="rId57" Type="http://schemas.openxmlformats.org/officeDocument/2006/relationships/tags" Target="../tags/tag819.xml"/><Relationship Id="rId262" Type="http://schemas.openxmlformats.org/officeDocument/2006/relationships/tags" Target="../tags/tag1024.xml"/><Relationship Id="rId283" Type="http://schemas.openxmlformats.org/officeDocument/2006/relationships/tags" Target="../tags/tag1045.xml"/><Relationship Id="rId318" Type="http://schemas.openxmlformats.org/officeDocument/2006/relationships/tags" Target="../tags/tag1080.xml"/><Relationship Id="rId339" Type="http://schemas.openxmlformats.org/officeDocument/2006/relationships/tags" Target="../tags/tag1101.xml"/><Relationship Id="rId78" Type="http://schemas.openxmlformats.org/officeDocument/2006/relationships/tags" Target="../tags/tag840.xml"/><Relationship Id="rId99" Type="http://schemas.openxmlformats.org/officeDocument/2006/relationships/tags" Target="../tags/tag861.xml"/><Relationship Id="rId101" Type="http://schemas.openxmlformats.org/officeDocument/2006/relationships/tags" Target="../tags/tag863.xml"/><Relationship Id="rId122" Type="http://schemas.openxmlformats.org/officeDocument/2006/relationships/tags" Target="../tags/tag884.xml"/><Relationship Id="rId143" Type="http://schemas.openxmlformats.org/officeDocument/2006/relationships/tags" Target="../tags/tag905.xml"/><Relationship Id="rId164" Type="http://schemas.openxmlformats.org/officeDocument/2006/relationships/tags" Target="../tags/tag926.xml"/><Relationship Id="rId185" Type="http://schemas.openxmlformats.org/officeDocument/2006/relationships/tags" Target="../tags/tag947.xml"/><Relationship Id="rId350" Type="http://schemas.openxmlformats.org/officeDocument/2006/relationships/tags" Target="../tags/tag1112.xml"/><Relationship Id="rId371" Type="http://schemas.openxmlformats.org/officeDocument/2006/relationships/tags" Target="../tags/tag1133.xml"/><Relationship Id="rId9" Type="http://schemas.openxmlformats.org/officeDocument/2006/relationships/tags" Target="../tags/tag771.xml"/><Relationship Id="rId210" Type="http://schemas.openxmlformats.org/officeDocument/2006/relationships/tags" Target="../tags/tag972.xml"/><Relationship Id="rId26" Type="http://schemas.openxmlformats.org/officeDocument/2006/relationships/tags" Target="../tags/tag788.xml"/><Relationship Id="rId231" Type="http://schemas.openxmlformats.org/officeDocument/2006/relationships/tags" Target="../tags/tag993.xml"/><Relationship Id="rId252" Type="http://schemas.openxmlformats.org/officeDocument/2006/relationships/tags" Target="../tags/tag1014.xml"/><Relationship Id="rId273" Type="http://schemas.openxmlformats.org/officeDocument/2006/relationships/tags" Target="../tags/tag1035.xml"/><Relationship Id="rId294" Type="http://schemas.openxmlformats.org/officeDocument/2006/relationships/tags" Target="../tags/tag1056.xml"/><Relationship Id="rId308" Type="http://schemas.openxmlformats.org/officeDocument/2006/relationships/tags" Target="../tags/tag1070.xml"/><Relationship Id="rId329" Type="http://schemas.openxmlformats.org/officeDocument/2006/relationships/tags" Target="../tags/tag1091.xml"/><Relationship Id="rId47" Type="http://schemas.openxmlformats.org/officeDocument/2006/relationships/tags" Target="../tags/tag809.xml"/><Relationship Id="rId68" Type="http://schemas.openxmlformats.org/officeDocument/2006/relationships/tags" Target="../tags/tag830.xml"/><Relationship Id="rId89" Type="http://schemas.openxmlformats.org/officeDocument/2006/relationships/tags" Target="../tags/tag851.xml"/><Relationship Id="rId112" Type="http://schemas.openxmlformats.org/officeDocument/2006/relationships/tags" Target="../tags/tag874.xml"/><Relationship Id="rId133" Type="http://schemas.openxmlformats.org/officeDocument/2006/relationships/tags" Target="../tags/tag895.xml"/><Relationship Id="rId154" Type="http://schemas.openxmlformats.org/officeDocument/2006/relationships/tags" Target="../tags/tag916.xml"/><Relationship Id="rId175" Type="http://schemas.openxmlformats.org/officeDocument/2006/relationships/tags" Target="../tags/tag937.xml"/><Relationship Id="rId340" Type="http://schemas.openxmlformats.org/officeDocument/2006/relationships/tags" Target="../tags/tag1102.xml"/><Relationship Id="rId361" Type="http://schemas.openxmlformats.org/officeDocument/2006/relationships/tags" Target="../tags/tag1123.xml"/><Relationship Id="rId196" Type="http://schemas.openxmlformats.org/officeDocument/2006/relationships/tags" Target="../tags/tag958.xml"/><Relationship Id="rId200" Type="http://schemas.openxmlformats.org/officeDocument/2006/relationships/tags" Target="../tags/tag962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778.xml"/><Relationship Id="rId221" Type="http://schemas.openxmlformats.org/officeDocument/2006/relationships/tags" Target="../tags/tag983.xml"/><Relationship Id="rId242" Type="http://schemas.openxmlformats.org/officeDocument/2006/relationships/tags" Target="../tags/tag1004.xml"/><Relationship Id="rId263" Type="http://schemas.openxmlformats.org/officeDocument/2006/relationships/tags" Target="../tags/tag1025.xml"/><Relationship Id="rId284" Type="http://schemas.openxmlformats.org/officeDocument/2006/relationships/tags" Target="../tags/tag1046.xml"/><Relationship Id="rId319" Type="http://schemas.openxmlformats.org/officeDocument/2006/relationships/tags" Target="../tags/tag1081.xml"/><Relationship Id="rId37" Type="http://schemas.openxmlformats.org/officeDocument/2006/relationships/tags" Target="../tags/tag799.xml"/><Relationship Id="rId58" Type="http://schemas.openxmlformats.org/officeDocument/2006/relationships/tags" Target="../tags/tag820.xml"/><Relationship Id="rId79" Type="http://schemas.openxmlformats.org/officeDocument/2006/relationships/tags" Target="../tags/tag841.xml"/><Relationship Id="rId102" Type="http://schemas.openxmlformats.org/officeDocument/2006/relationships/tags" Target="../tags/tag864.xml"/><Relationship Id="rId123" Type="http://schemas.openxmlformats.org/officeDocument/2006/relationships/tags" Target="../tags/tag885.xml"/><Relationship Id="rId144" Type="http://schemas.openxmlformats.org/officeDocument/2006/relationships/tags" Target="../tags/tag906.xml"/><Relationship Id="rId330" Type="http://schemas.openxmlformats.org/officeDocument/2006/relationships/tags" Target="../tags/tag1092.xml"/><Relationship Id="rId90" Type="http://schemas.openxmlformats.org/officeDocument/2006/relationships/tags" Target="../tags/tag852.xml"/><Relationship Id="rId165" Type="http://schemas.openxmlformats.org/officeDocument/2006/relationships/tags" Target="../tags/tag927.xml"/><Relationship Id="rId186" Type="http://schemas.openxmlformats.org/officeDocument/2006/relationships/tags" Target="../tags/tag948.xml"/><Relationship Id="rId351" Type="http://schemas.openxmlformats.org/officeDocument/2006/relationships/tags" Target="../tags/tag1113.xml"/><Relationship Id="rId372" Type="http://schemas.openxmlformats.org/officeDocument/2006/relationships/tags" Target="../tags/tag1134.xml"/><Relationship Id="rId211" Type="http://schemas.openxmlformats.org/officeDocument/2006/relationships/tags" Target="../tags/tag973.xml"/><Relationship Id="rId232" Type="http://schemas.openxmlformats.org/officeDocument/2006/relationships/tags" Target="../tags/tag994.xml"/><Relationship Id="rId253" Type="http://schemas.openxmlformats.org/officeDocument/2006/relationships/tags" Target="../tags/tag1015.xml"/><Relationship Id="rId274" Type="http://schemas.openxmlformats.org/officeDocument/2006/relationships/tags" Target="../tags/tag1036.xml"/><Relationship Id="rId295" Type="http://schemas.openxmlformats.org/officeDocument/2006/relationships/tags" Target="../tags/tag1057.xml"/><Relationship Id="rId309" Type="http://schemas.openxmlformats.org/officeDocument/2006/relationships/tags" Target="../tags/tag1071.xml"/><Relationship Id="rId27" Type="http://schemas.openxmlformats.org/officeDocument/2006/relationships/tags" Target="../tags/tag789.xml"/><Relationship Id="rId48" Type="http://schemas.openxmlformats.org/officeDocument/2006/relationships/tags" Target="../tags/tag810.xml"/><Relationship Id="rId69" Type="http://schemas.openxmlformats.org/officeDocument/2006/relationships/tags" Target="../tags/tag831.xml"/><Relationship Id="rId113" Type="http://schemas.openxmlformats.org/officeDocument/2006/relationships/tags" Target="../tags/tag875.xml"/><Relationship Id="rId134" Type="http://schemas.openxmlformats.org/officeDocument/2006/relationships/tags" Target="../tags/tag896.xml"/><Relationship Id="rId320" Type="http://schemas.openxmlformats.org/officeDocument/2006/relationships/tags" Target="../tags/tag1082.xml"/><Relationship Id="rId80" Type="http://schemas.openxmlformats.org/officeDocument/2006/relationships/tags" Target="../tags/tag842.xml"/><Relationship Id="rId155" Type="http://schemas.openxmlformats.org/officeDocument/2006/relationships/tags" Target="../tags/tag917.xml"/><Relationship Id="rId176" Type="http://schemas.openxmlformats.org/officeDocument/2006/relationships/tags" Target="../tags/tag938.xml"/><Relationship Id="rId197" Type="http://schemas.openxmlformats.org/officeDocument/2006/relationships/tags" Target="../tags/tag959.xml"/><Relationship Id="rId341" Type="http://schemas.openxmlformats.org/officeDocument/2006/relationships/tags" Target="../tags/tag1103.xml"/><Relationship Id="rId362" Type="http://schemas.openxmlformats.org/officeDocument/2006/relationships/tags" Target="../tags/tag1124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963.xml"/><Relationship Id="rId222" Type="http://schemas.openxmlformats.org/officeDocument/2006/relationships/tags" Target="../tags/tag984.xml"/><Relationship Id="rId243" Type="http://schemas.openxmlformats.org/officeDocument/2006/relationships/tags" Target="../tags/tag1005.xml"/><Relationship Id="rId264" Type="http://schemas.openxmlformats.org/officeDocument/2006/relationships/tags" Target="../tags/tag1026.xml"/><Relationship Id="rId285" Type="http://schemas.openxmlformats.org/officeDocument/2006/relationships/tags" Target="../tags/tag1047.xml"/><Relationship Id="rId17" Type="http://schemas.openxmlformats.org/officeDocument/2006/relationships/tags" Target="../tags/tag779.xml"/><Relationship Id="rId38" Type="http://schemas.openxmlformats.org/officeDocument/2006/relationships/tags" Target="../tags/tag800.xml"/><Relationship Id="rId59" Type="http://schemas.openxmlformats.org/officeDocument/2006/relationships/tags" Target="../tags/tag821.xml"/><Relationship Id="rId103" Type="http://schemas.openxmlformats.org/officeDocument/2006/relationships/tags" Target="../tags/tag865.xml"/><Relationship Id="rId124" Type="http://schemas.openxmlformats.org/officeDocument/2006/relationships/tags" Target="../tags/tag886.xml"/><Relationship Id="rId310" Type="http://schemas.openxmlformats.org/officeDocument/2006/relationships/tags" Target="../tags/tag1072.xml"/><Relationship Id="rId70" Type="http://schemas.openxmlformats.org/officeDocument/2006/relationships/tags" Target="../tags/tag832.xml"/><Relationship Id="rId91" Type="http://schemas.openxmlformats.org/officeDocument/2006/relationships/tags" Target="../tags/tag853.xml"/><Relationship Id="rId145" Type="http://schemas.openxmlformats.org/officeDocument/2006/relationships/tags" Target="../tags/tag907.xml"/><Relationship Id="rId166" Type="http://schemas.openxmlformats.org/officeDocument/2006/relationships/tags" Target="../tags/tag928.xml"/><Relationship Id="rId187" Type="http://schemas.openxmlformats.org/officeDocument/2006/relationships/tags" Target="../tags/tag949.xml"/><Relationship Id="rId331" Type="http://schemas.openxmlformats.org/officeDocument/2006/relationships/tags" Target="../tags/tag1093.xml"/><Relationship Id="rId352" Type="http://schemas.openxmlformats.org/officeDocument/2006/relationships/tags" Target="../tags/tag1114.xml"/><Relationship Id="rId373" Type="http://schemas.openxmlformats.org/officeDocument/2006/relationships/tags" Target="../tags/tag1135.xml"/><Relationship Id="rId1" Type="http://schemas.openxmlformats.org/officeDocument/2006/relationships/tags" Target="../tags/tag763.xml"/><Relationship Id="rId212" Type="http://schemas.openxmlformats.org/officeDocument/2006/relationships/tags" Target="../tags/tag974.xml"/><Relationship Id="rId233" Type="http://schemas.openxmlformats.org/officeDocument/2006/relationships/tags" Target="../tags/tag995.xml"/><Relationship Id="rId254" Type="http://schemas.openxmlformats.org/officeDocument/2006/relationships/tags" Target="../tags/tag1016.xml"/><Relationship Id="rId28" Type="http://schemas.openxmlformats.org/officeDocument/2006/relationships/tags" Target="../tags/tag790.xml"/><Relationship Id="rId49" Type="http://schemas.openxmlformats.org/officeDocument/2006/relationships/tags" Target="../tags/tag811.xml"/><Relationship Id="rId114" Type="http://schemas.openxmlformats.org/officeDocument/2006/relationships/tags" Target="../tags/tag876.xml"/><Relationship Id="rId275" Type="http://schemas.openxmlformats.org/officeDocument/2006/relationships/tags" Target="../tags/tag1037.xml"/><Relationship Id="rId296" Type="http://schemas.openxmlformats.org/officeDocument/2006/relationships/tags" Target="../tags/tag1058.xml"/><Relationship Id="rId300" Type="http://schemas.openxmlformats.org/officeDocument/2006/relationships/tags" Target="../tags/tag1062.xml"/><Relationship Id="rId60" Type="http://schemas.openxmlformats.org/officeDocument/2006/relationships/tags" Target="../tags/tag822.xml"/><Relationship Id="rId81" Type="http://schemas.openxmlformats.org/officeDocument/2006/relationships/tags" Target="../tags/tag843.xml"/><Relationship Id="rId135" Type="http://schemas.openxmlformats.org/officeDocument/2006/relationships/tags" Target="../tags/tag897.xml"/><Relationship Id="rId156" Type="http://schemas.openxmlformats.org/officeDocument/2006/relationships/tags" Target="../tags/tag918.xml"/><Relationship Id="rId177" Type="http://schemas.openxmlformats.org/officeDocument/2006/relationships/tags" Target="../tags/tag939.xml"/><Relationship Id="rId198" Type="http://schemas.openxmlformats.org/officeDocument/2006/relationships/tags" Target="../tags/tag960.xml"/><Relationship Id="rId321" Type="http://schemas.openxmlformats.org/officeDocument/2006/relationships/tags" Target="../tags/tag1083.xml"/><Relationship Id="rId342" Type="http://schemas.openxmlformats.org/officeDocument/2006/relationships/tags" Target="../tags/tag1104.xml"/><Relationship Id="rId363" Type="http://schemas.openxmlformats.org/officeDocument/2006/relationships/tags" Target="../tags/tag1125.xml"/><Relationship Id="rId202" Type="http://schemas.openxmlformats.org/officeDocument/2006/relationships/tags" Target="../tags/tag964.xml"/><Relationship Id="rId223" Type="http://schemas.openxmlformats.org/officeDocument/2006/relationships/tags" Target="../tags/tag985.xml"/><Relationship Id="rId244" Type="http://schemas.openxmlformats.org/officeDocument/2006/relationships/tags" Target="../tags/tag1006.xml"/><Relationship Id="rId18" Type="http://schemas.openxmlformats.org/officeDocument/2006/relationships/tags" Target="../tags/tag780.xml"/><Relationship Id="rId39" Type="http://schemas.openxmlformats.org/officeDocument/2006/relationships/tags" Target="../tags/tag801.xml"/><Relationship Id="rId265" Type="http://schemas.openxmlformats.org/officeDocument/2006/relationships/tags" Target="../tags/tag1027.xml"/><Relationship Id="rId286" Type="http://schemas.openxmlformats.org/officeDocument/2006/relationships/tags" Target="../tags/tag1048.xml"/><Relationship Id="rId50" Type="http://schemas.openxmlformats.org/officeDocument/2006/relationships/tags" Target="../tags/tag812.xml"/><Relationship Id="rId104" Type="http://schemas.openxmlformats.org/officeDocument/2006/relationships/tags" Target="../tags/tag866.xml"/><Relationship Id="rId125" Type="http://schemas.openxmlformats.org/officeDocument/2006/relationships/tags" Target="../tags/tag887.xml"/><Relationship Id="rId146" Type="http://schemas.openxmlformats.org/officeDocument/2006/relationships/tags" Target="../tags/tag908.xml"/><Relationship Id="rId167" Type="http://schemas.openxmlformats.org/officeDocument/2006/relationships/tags" Target="../tags/tag929.xml"/><Relationship Id="rId188" Type="http://schemas.openxmlformats.org/officeDocument/2006/relationships/tags" Target="../tags/tag950.xml"/><Relationship Id="rId311" Type="http://schemas.openxmlformats.org/officeDocument/2006/relationships/tags" Target="../tags/tag1073.xml"/><Relationship Id="rId332" Type="http://schemas.openxmlformats.org/officeDocument/2006/relationships/tags" Target="../tags/tag1094.xml"/><Relationship Id="rId353" Type="http://schemas.openxmlformats.org/officeDocument/2006/relationships/tags" Target="../tags/tag1115.xml"/><Relationship Id="rId374" Type="http://schemas.openxmlformats.org/officeDocument/2006/relationships/tags" Target="../tags/tag1136.xml"/><Relationship Id="rId71" Type="http://schemas.openxmlformats.org/officeDocument/2006/relationships/tags" Target="../tags/tag833.xml"/><Relationship Id="rId92" Type="http://schemas.openxmlformats.org/officeDocument/2006/relationships/tags" Target="../tags/tag854.xml"/><Relationship Id="rId213" Type="http://schemas.openxmlformats.org/officeDocument/2006/relationships/tags" Target="../tags/tag975.xml"/><Relationship Id="rId234" Type="http://schemas.openxmlformats.org/officeDocument/2006/relationships/tags" Target="../tags/tag996.xml"/><Relationship Id="rId2" Type="http://schemas.openxmlformats.org/officeDocument/2006/relationships/tags" Target="../tags/tag764.xml"/><Relationship Id="rId29" Type="http://schemas.openxmlformats.org/officeDocument/2006/relationships/tags" Target="../tags/tag791.xml"/><Relationship Id="rId255" Type="http://schemas.openxmlformats.org/officeDocument/2006/relationships/tags" Target="../tags/tag1017.xml"/><Relationship Id="rId276" Type="http://schemas.openxmlformats.org/officeDocument/2006/relationships/tags" Target="../tags/tag1038.xml"/><Relationship Id="rId297" Type="http://schemas.openxmlformats.org/officeDocument/2006/relationships/tags" Target="../tags/tag1059.xml"/><Relationship Id="rId40" Type="http://schemas.openxmlformats.org/officeDocument/2006/relationships/tags" Target="../tags/tag802.xml"/><Relationship Id="rId115" Type="http://schemas.openxmlformats.org/officeDocument/2006/relationships/tags" Target="../tags/tag877.xml"/><Relationship Id="rId136" Type="http://schemas.openxmlformats.org/officeDocument/2006/relationships/tags" Target="../tags/tag898.xml"/><Relationship Id="rId157" Type="http://schemas.openxmlformats.org/officeDocument/2006/relationships/tags" Target="../tags/tag919.xml"/><Relationship Id="rId178" Type="http://schemas.openxmlformats.org/officeDocument/2006/relationships/tags" Target="../tags/tag940.xml"/><Relationship Id="rId301" Type="http://schemas.openxmlformats.org/officeDocument/2006/relationships/tags" Target="../tags/tag1063.xml"/><Relationship Id="rId322" Type="http://schemas.openxmlformats.org/officeDocument/2006/relationships/tags" Target="../tags/tag1084.xml"/><Relationship Id="rId343" Type="http://schemas.openxmlformats.org/officeDocument/2006/relationships/tags" Target="../tags/tag1105.xml"/><Relationship Id="rId364" Type="http://schemas.openxmlformats.org/officeDocument/2006/relationships/tags" Target="../tags/tag1126.xml"/><Relationship Id="rId61" Type="http://schemas.openxmlformats.org/officeDocument/2006/relationships/tags" Target="../tags/tag823.xml"/><Relationship Id="rId82" Type="http://schemas.openxmlformats.org/officeDocument/2006/relationships/tags" Target="../tags/tag844.xml"/><Relationship Id="rId199" Type="http://schemas.openxmlformats.org/officeDocument/2006/relationships/tags" Target="../tags/tag961.xml"/><Relationship Id="rId203" Type="http://schemas.openxmlformats.org/officeDocument/2006/relationships/tags" Target="../tags/tag965.xml"/><Relationship Id="rId19" Type="http://schemas.openxmlformats.org/officeDocument/2006/relationships/tags" Target="../tags/tag781.xml"/><Relationship Id="rId224" Type="http://schemas.openxmlformats.org/officeDocument/2006/relationships/tags" Target="../tags/tag986.xml"/><Relationship Id="rId245" Type="http://schemas.openxmlformats.org/officeDocument/2006/relationships/tags" Target="../tags/tag1007.xml"/><Relationship Id="rId266" Type="http://schemas.openxmlformats.org/officeDocument/2006/relationships/tags" Target="../tags/tag1028.xml"/><Relationship Id="rId287" Type="http://schemas.openxmlformats.org/officeDocument/2006/relationships/tags" Target="../tags/tag1049.xml"/><Relationship Id="rId30" Type="http://schemas.openxmlformats.org/officeDocument/2006/relationships/tags" Target="../tags/tag792.xml"/><Relationship Id="rId105" Type="http://schemas.openxmlformats.org/officeDocument/2006/relationships/tags" Target="../tags/tag867.xml"/><Relationship Id="rId126" Type="http://schemas.openxmlformats.org/officeDocument/2006/relationships/tags" Target="../tags/tag888.xml"/><Relationship Id="rId147" Type="http://schemas.openxmlformats.org/officeDocument/2006/relationships/tags" Target="../tags/tag909.xml"/><Relationship Id="rId168" Type="http://schemas.openxmlformats.org/officeDocument/2006/relationships/tags" Target="../tags/tag930.xml"/><Relationship Id="rId312" Type="http://schemas.openxmlformats.org/officeDocument/2006/relationships/tags" Target="../tags/tag1074.xml"/><Relationship Id="rId333" Type="http://schemas.openxmlformats.org/officeDocument/2006/relationships/tags" Target="../tags/tag1095.xml"/><Relationship Id="rId354" Type="http://schemas.openxmlformats.org/officeDocument/2006/relationships/tags" Target="../tags/tag1116.xml"/><Relationship Id="rId51" Type="http://schemas.openxmlformats.org/officeDocument/2006/relationships/tags" Target="../tags/tag813.xml"/><Relationship Id="rId72" Type="http://schemas.openxmlformats.org/officeDocument/2006/relationships/tags" Target="../tags/tag834.xml"/><Relationship Id="rId93" Type="http://schemas.openxmlformats.org/officeDocument/2006/relationships/tags" Target="../tags/tag855.xml"/><Relationship Id="rId189" Type="http://schemas.openxmlformats.org/officeDocument/2006/relationships/tags" Target="../tags/tag951.xml"/><Relationship Id="rId375" Type="http://schemas.openxmlformats.org/officeDocument/2006/relationships/tags" Target="../tags/tag1137.xml"/><Relationship Id="rId3" Type="http://schemas.openxmlformats.org/officeDocument/2006/relationships/tags" Target="../tags/tag765.xml"/><Relationship Id="rId214" Type="http://schemas.openxmlformats.org/officeDocument/2006/relationships/tags" Target="../tags/tag976.xml"/><Relationship Id="rId235" Type="http://schemas.openxmlformats.org/officeDocument/2006/relationships/tags" Target="../tags/tag997.xml"/><Relationship Id="rId256" Type="http://schemas.openxmlformats.org/officeDocument/2006/relationships/tags" Target="../tags/tag1018.xml"/><Relationship Id="rId277" Type="http://schemas.openxmlformats.org/officeDocument/2006/relationships/tags" Target="../tags/tag1039.xml"/><Relationship Id="rId298" Type="http://schemas.openxmlformats.org/officeDocument/2006/relationships/tags" Target="../tags/tag1060.xml"/><Relationship Id="rId116" Type="http://schemas.openxmlformats.org/officeDocument/2006/relationships/tags" Target="../tags/tag878.xml"/><Relationship Id="rId137" Type="http://schemas.openxmlformats.org/officeDocument/2006/relationships/tags" Target="../tags/tag899.xml"/><Relationship Id="rId158" Type="http://schemas.openxmlformats.org/officeDocument/2006/relationships/tags" Target="../tags/tag920.xml"/><Relationship Id="rId302" Type="http://schemas.openxmlformats.org/officeDocument/2006/relationships/tags" Target="../tags/tag1064.xml"/><Relationship Id="rId323" Type="http://schemas.openxmlformats.org/officeDocument/2006/relationships/tags" Target="../tags/tag1085.xml"/><Relationship Id="rId344" Type="http://schemas.openxmlformats.org/officeDocument/2006/relationships/tags" Target="../tags/tag1106.xml"/><Relationship Id="rId20" Type="http://schemas.openxmlformats.org/officeDocument/2006/relationships/tags" Target="../tags/tag782.xml"/><Relationship Id="rId41" Type="http://schemas.openxmlformats.org/officeDocument/2006/relationships/tags" Target="../tags/tag803.xml"/><Relationship Id="rId62" Type="http://schemas.openxmlformats.org/officeDocument/2006/relationships/tags" Target="../tags/tag824.xml"/><Relationship Id="rId83" Type="http://schemas.openxmlformats.org/officeDocument/2006/relationships/tags" Target="../tags/tag845.xml"/><Relationship Id="rId179" Type="http://schemas.openxmlformats.org/officeDocument/2006/relationships/tags" Target="../tags/tag941.xml"/><Relationship Id="rId365" Type="http://schemas.openxmlformats.org/officeDocument/2006/relationships/tags" Target="../tags/tag1127.xml"/><Relationship Id="rId190" Type="http://schemas.openxmlformats.org/officeDocument/2006/relationships/tags" Target="../tags/tag952.xml"/><Relationship Id="rId204" Type="http://schemas.openxmlformats.org/officeDocument/2006/relationships/tags" Target="../tags/tag966.xml"/><Relationship Id="rId225" Type="http://schemas.openxmlformats.org/officeDocument/2006/relationships/tags" Target="../tags/tag987.xml"/><Relationship Id="rId246" Type="http://schemas.openxmlformats.org/officeDocument/2006/relationships/tags" Target="../tags/tag1008.xml"/><Relationship Id="rId267" Type="http://schemas.openxmlformats.org/officeDocument/2006/relationships/tags" Target="../tags/tag1029.xml"/><Relationship Id="rId288" Type="http://schemas.openxmlformats.org/officeDocument/2006/relationships/tags" Target="../tags/tag1050.xml"/><Relationship Id="rId106" Type="http://schemas.openxmlformats.org/officeDocument/2006/relationships/tags" Target="../tags/tag868.xml"/><Relationship Id="rId127" Type="http://schemas.openxmlformats.org/officeDocument/2006/relationships/tags" Target="../tags/tag889.xml"/><Relationship Id="rId313" Type="http://schemas.openxmlformats.org/officeDocument/2006/relationships/tags" Target="../tags/tag1075.xml"/><Relationship Id="rId10" Type="http://schemas.openxmlformats.org/officeDocument/2006/relationships/tags" Target="../tags/tag772.xml"/><Relationship Id="rId31" Type="http://schemas.openxmlformats.org/officeDocument/2006/relationships/tags" Target="../tags/tag793.xml"/><Relationship Id="rId52" Type="http://schemas.openxmlformats.org/officeDocument/2006/relationships/tags" Target="../tags/tag814.xml"/><Relationship Id="rId73" Type="http://schemas.openxmlformats.org/officeDocument/2006/relationships/tags" Target="../tags/tag835.xml"/><Relationship Id="rId94" Type="http://schemas.openxmlformats.org/officeDocument/2006/relationships/tags" Target="../tags/tag856.xml"/><Relationship Id="rId148" Type="http://schemas.openxmlformats.org/officeDocument/2006/relationships/tags" Target="../tags/tag910.xml"/><Relationship Id="rId169" Type="http://schemas.openxmlformats.org/officeDocument/2006/relationships/tags" Target="../tags/tag931.xml"/><Relationship Id="rId334" Type="http://schemas.openxmlformats.org/officeDocument/2006/relationships/tags" Target="../tags/tag1096.xml"/><Relationship Id="rId355" Type="http://schemas.openxmlformats.org/officeDocument/2006/relationships/tags" Target="../tags/tag1117.xml"/><Relationship Id="rId376" Type="http://schemas.openxmlformats.org/officeDocument/2006/relationships/tags" Target="../tags/tag1138.xml"/><Relationship Id="rId4" Type="http://schemas.openxmlformats.org/officeDocument/2006/relationships/tags" Target="../tags/tag766.xml"/><Relationship Id="rId180" Type="http://schemas.openxmlformats.org/officeDocument/2006/relationships/tags" Target="../tags/tag942.xml"/><Relationship Id="rId215" Type="http://schemas.openxmlformats.org/officeDocument/2006/relationships/tags" Target="../tags/tag977.xml"/><Relationship Id="rId236" Type="http://schemas.openxmlformats.org/officeDocument/2006/relationships/tags" Target="../tags/tag998.xml"/><Relationship Id="rId257" Type="http://schemas.openxmlformats.org/officeDocument/2006/relationships/tags" Target="../tags/tag1019.xml"/><Relationship Id="rId278" Type="http://schemas.openxmlformats.org/officeDocument/2006/relationships/tags" Target="../tags/tag104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21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s-MX" dirty="0" smtClean="0">
                <a:cs typeface="AngsanaUPC" pitchFamily="18" charset="-34"/>
              </a:rPr>
              <a:t>Regulación técnica en Medición en transporte de gas natural por gasoductos</a:t>
            </a:r>
            <a:endParaRPr lang="es-CO" dirty="0">
              <a:cs typeface="AngsanaUPC" pitchFamily="18" charset="-34"/>
            </a:endParaRPr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 smtClean="0"/>
              <a:t>Contexto Internacion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46416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 smtClean="0"/>
              <a:t>Italia</a:t>
            </a:r>
            <a:endParaRPr lang="es-CO" dirty="0"/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2467259610"/>
              </p:ext>
            </p:extLst>
          </p:nvPr>
        </p:nvGraphicFramePr>
        <p:xfrm>
          <a:off x="-19325" y="2276872"/>
          <a:ext cx="4087269" cy="31683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4540077" y="3212975"/>
            <a:ext cx="1544091" cy="1132084"/>
            <a:chOff x="2082942" y="2194129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Gestor Técnico del Sistema: </a:t>
              </a:r>
              <a:r>
                <a:rPr lang="es-MX" sz="1700" kern="1200" dirty="0" smtClean="0"/>
                <a:t>SNAM RETE</a:t>
              </a:r>
              <a:endParaRPr lang="es-CO" sz="1700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3232785" y="4653134"/>
            <a:ext cx="1544091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/>
              <a:r>
                <a:rPr lang="es-MX" sz="1600" kern="1200" dirty="0" smtClean="0"/>
                <a:t>Elabora el </a:t>
              </a:r>
              <a:r>
                <a:rPr lang="es-MX" sz="1600" b="1" kern="1200" dirty="0" smtClean="0"/>
                <a:t>Código de Red</a:t>
              </a:r>
              <a:endParaRPr lang="es-CO" sz="1400" b="1" dirty="0"/>
            </a:p>
          </p:txBody>
        </p:sp>
      </p:grpSp>
      <p:cxnSp>
        <p:nvCxnSpPr>
          <p:cNvPr id="15" name="14 Conector angular"/>
          <p:cNvCxnSpPr>
            <a:stCxn id="11" idx="2"/>
            <a:endCxn id="14" idx="3"/>
          </p:cNvCxnSpPr>
          <p:nvPr/>
        </p:nvCxnSpPr>
        <p:spPr>
          <a:xfrm rot="5400000">
            <a:off x="4697451" y="4424485"/>
            <a:ext cx="694098" cy="535247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20 Grupo"/>
          <p:cNvGrpSpPr/>
          <p:nvPr/>
        </p:nvGrpSpPr>
        <p:grpSpPr>
          <a:xfrm>
            <a:off x="5878372" y="4653135"/>
            <a:ext cx="2438044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Se apoya en Estándares Técnicos:</a:t>
              </a:r>
              <a:r>
                <a:rPr lang="es-MX" sz="1700" b="1" kern="1200" dirty="0" smtClean="0"/>
                <a:t> ISO, UNI </a:t>
              </a:r>
              <a:r>
                <a:rPr lang="es-MX" sz="1700" kern="1200" dirty="0" smtClean="0"/>
                <a:t> </a:t>
              </a:r>
              <a:endParaRPr lang="es-CO" sz="1700" kern="1200" dirty="0"/>
            </a:p>
          </p:txBody>
        </p:sp>
      </p:grpSp>
      <p:cxnSp>
        <p:nvCxnSpPr>
          <p:cNvPr id="24" name="23 Conector angular"/>
          <p:cNvCxnSpPr>
            <a:stCxn id="11" idx="2"/>
            <a:endCxn id="23" idx="1"/>
          </p:cNvCxnSpPr>
          <p:nvPr/>
        </p:nvCxnSpPr>
        <p:spPr>
          <a:xfrm rot="16200000" flipH="1">
            <a:off x="5248198" y="4408983"/>
            <a:ext cx="694099" cy="566249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17 Rectángulo"/>
          <p:cNvSpPr/>
          <p:nvPr/>
        </p:nvSpPr>
        <p:spPr>
          <a:xfrm>
            <a:off x="2771800" y="2492895"/>
            <a:ext cx="30241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/>
              <a:t>Decreto Legislativo 164/2000,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6176" y="3064642"/>
            <a:ext cx="2019300" cy="142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8" y="58316"/>
            <a:ext cx="17145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816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SO: Itali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69396183"/>
              </p:ext>
            </p:extLst>
          </p:nvPr>
        </p:nvGraphicFramePr>
        <p:xfrm>
          <a:off x="467544" y="2132856"/>
          <a:ext cx="8229600" cy="35814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Gestor </a:t>
                      </a:r>
                      <a:r>
                        <a:rPr lang="es-MX" baseline="0" dirty="0" smtClean="0"/>
                        <a:t> Técnico del Sistem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ENI </a:t>
                      </a:r>
                      <a:r>
                        <a:rPr lang="es-MX" dirty="0" err="1" smtClean="0"/>
                        <a:t>Snam</a:t>
                      </a:r>
                      <a:r>
                        <a:rPr lang="es-MX" dirty="0" smtClean="0"/>
                        <a:t> Rete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Network Code </a:t>
                      </a:r>
                      <a:r>
                        <a:rPr lang="es-MX" dirty="0" err="1" smtClean="0"/>
                        <a:t>Snam</a:t>
                      </a:r>
                      <a:r>
                        <a:rPr lang="es-MX" dirty="0" smtClean="0"/>
                        <a:t> Rete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15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UNI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CEN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Limites de Incertidumbr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s-MX" dirty="0" smtClean="0"/>
                        <a:t>Transferencia</a:t>
                      </a:r>
                      <a:r>
                        <a:rPr lang="es-MX" baseline="0" dirty="0" smtClean="0"/>
                        <a:t> de custodia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rimera vez:</a:t>
                      </a:r>
                      <a:r>
                        <a:rPr lang="es-MX" baseline="0" dirty="0" smtClean="0"/>
                        <a:t> ±0,6%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Verificación: ±1,2%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88" y="58316"/>
            <a:ext cx="1714500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40698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476"/>
            <a:ext cx="1554480" cy="155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05" b="24242"/>
          <a:stretch/>
        </p:blipFill>
        <p:spPr bwMode="auto">
          <a:xfrm>
            <a:off x="6104482" y="3501008"/>
            <a:ext cx="2765238" cy="9183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 smtClean="0"/>
              <a:t>Holanda (Países Bajos)</a:t>
            </a:r>
            <a:endParaRPr lang="es-CO" dirty="0"/>
          </a:p>
        </p:txBody>
      </p:sp>
      <p:grpSp>
        <p:nvGrpSpPr>
          <p:cNvPr id="9" name="8 Grupo"/>
          <p:cNvGrpSpPr/>
          <p:nvPr/>
        </p:nvGrpSpPr>
        <p:grpSpPr>
          <a:xfrm>
            <a:off x="4540077" y="3717032"/>
            <a:ext cx="1544091" cy="1132084"/>
            <a:chOff x="2082942" y="2194129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dirty="0"/>
                <a:t>Gestor Técnico del Sistema:</a:t>
              </a:r>
              <a:r>
                <a:rPr lang="es-MX" sz="1700" b="1" kern="1200" dirty="0" smtClean="0"/>
                <a:t> GASUNIE GTS</a:t>
              </a:r>
              <a:endParaRPr lang="es-CO" sz="1700" b="1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3232785" y="5013177"/>
            <a:ext cx="1544091" cy="916060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/>
              <a:r>
                <a:rPr lang="es-MX" sz="1600" kern="1200" dirty="0" smtClean="0"/>
                <a:t>Elabora el </a:t>
              </a:r>
              <a:r>
                <a:rPr lang="es-MX" sz="1600" b="1" kern="1200" dirty="0" smtClean="0"/>
                <a:t>Código de Red y las Condiciones de Acceso al Sistema</a:t>
              </a:r>
              <a:endParaRPr lang="es-CO" sz="1400" b="1" dirty="0"/>
            </a:p>
          </p:txBody>
        </p:sp>
      </p:grpSp>
      <p:cxnSp>
        <p:nvCxnSpPr>
          <p:cNvPr id="15" name="14 Conector angular"/>
          <p:cNvCxnSpPr>
            <a:stCxn id="11" idx="2"/>
            <a:endCxn id="14" idx="3"/>
          </p:cNvCxnSpPr>
          <p:nvPr/>
        </p:nvCxnSpPr>
        <p:spPr>
          <a:xfrm rot="5400000">
            <a:off x="4733455" y="4892538"/>
            <a:ext cx="622091" cy="535247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20 Grupo"/>
          <p:cNvGrpSpPr/>
          <p:nvPr/>
        </p:nvGrpSpPr>
        <p:grpSpPr>
          <a:xfrm>
            <a:off x="5878372" y="5085184"/>
            <a:ext cx="2438044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Se apoya en Estándares Técnicos:</a:t>
              </a:r>
              <a:r>
                <a:rPr lang="es-MX" sz="1700" b="1" kern="1200" dirty="0" smtClean="0"/>
                <a:t> ISO, DIN, OIML</a:t>
              </a:r>
              <a:r>
                <a:rPr lang="es-MX" sz="1700" kern="1200" dirty="0" smtClean="0"/>
                <a:t> </a:t>
              </a:r>
              <a:endParaRPr lang="es-CO" sz="1700" kern="1200" dirty="0"/>
            </a:p>
          </p:txBody>
        </p:sp>
      </p:grpSp>
      <p:cxnSp>
        <p:nvCxnSpPr>
          <p:cNvPr id="24" name="23 Conector angular"/>
          <p:cNvCxnSpPr>
            <a:stCxn id="11" idx="2"/>
            <a:endCxn id="23" idx="1"/>
          </p:cNvCxnSpPr>
          <p:nvPr/>
        </p:nvCxnSpPr>
        <p:spPr>
          <a:xfrm rot="16200000" flipH="1">
            <a:off x="5284202" y="4877036"/>
            <a:ext cx="622091" cy="566249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17 Rectángulo"/>
          <p:cNvSpPr/>
          <p:nvPr/>
        </p:nvSpPr>
        <p:spPr>
          <a:xfrm>
            <a:off x="2853464" y="2780928"/>
            <a:ext cx="19234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 smtClean="0"/>
              <a:t>Ley del Gas (2000)</a:t>
            </a:r>
            <a:endParaRPr lang="es-CO" b="1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4889" y="4283074"/>
            <a:ext cx="2886075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5" name="24 Diagrama"/>
          <p:cNvGraphicFramePr/>
          <p:nvPr>
            <p:extLst>
              <p:ext uri="{D42A27DB-BD31-4B8C-83A1-F6EECF244321}">
                <p14:modId xmlns:p14="http://schemas.microsoft.com/office/powerpoint/2010/main" val="797901360"/>
              </p:ext>
            </p:extLst>
          </p:nvPr>
        </p:nvGraphicFramePr>
        <p:xfrm>
          <a:off x="-108520" y="1196752"/>
          <a:ext cx="4087269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296267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SO: Holand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8094664"/>
              </p:ext>
            </p:extLst>
          </p:nvPr>
        </p:nvGraphicFramePr>
        <p:xfrm>
          <a:off x="467544" y="2132856"/>
          <a:ext cx="8229600" cy="330708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Gestor </a:t>
                      </a:r>
                      <a:r>
                        <a:rPr lang="es-MX" baseline="0" dirty="0" smtClean="0"/>
                        <a:t>Técnico del Sistem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Gas </a:t>
                      </a:r>
                      <a:r>
                        <a:rPr lang="es-MX" dirty="0" err="1" smtClean="0"/>
                        <a:t>Transport</a:t>
                      </a:r>
                      <a:r>
                        <a:rPr lang="es-MX" dirty="0" smtClean="0"/>
                        <a:t> </a:t>
                      </a:r>
                      <a:r>
                        <a:rPr lang="es-MX" dirty="0" err="1" smtClean="0"/>
                        <a:t>Services</a:t>
                      </a:r>
                      <a:r>
                        <a:rPr lang="es-MX" baseline="0" dirty="0" smtClean="0"/>
                        <a:t> – </a:t>
                      </a:r>
                      <a:r>
                        <a:rPr lang="es-MX" baseline="0" dirty="0" err="1" smtClean="0"/>
                        <a:t>Gasunie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Código</a:t>
                      </a:r>
                      <a:r>
                        <a:rPr lang="es-MX" baseline="0" dirty="0" smtClean="0"/>
                        <a:t> de Red de GTS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0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DI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Limites</a:t>
                      </a:r>
                      <a:r>
                        <a:rPr lang="es-MX" baseline="0" dirty="0" smtClean="0"/>
                        <a:t> de Incertidumbr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Transferencia de Custodia:</a:t>
                      </a:r>
                      <a:r>
                        <a:rPr lang="es-MX" baseline="0" dirty="0" smtClean="0"/>
                        <a:t> ±1,5%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s-MX" baseline="0" dirty="0" smtClean="0"/>
                        <a:t>Demás mediciones: ±3,0%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4476"/>
            <a:ext cx="1554480" cy="155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0845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 smtClean="0"/>
              <a:t>CASO: Noruega</a:t>
            </a:r>
            <a:endParaRPr lang="es-CO" dirty="0"/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4174858556"/>
              </p:ext>
            </p:extLst>
          </p:nvPr>
        </p:nvGraphicFramePr>
        <p:xfrm>
          <a:off x="-19325" y="1885280"/>
          <a:ext cx="408726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4540077" y="3717032"/>
            <a:ext cx="1544091" cy="1132084"/>
            <a:chOff x="2082942" y="2194129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Gestor Técnico del Sistema: </a:t>
              </a:r>
              <a:r>
                <a:rPr lang="es-MX" sz="1700" dirty="0" smtClean="0"/>
                <a:t>GASSCO</a:t>
              </a:r>
              <a:endParaRPr lang="es-CO" sz="1700" kern="1200" dirty="0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3707904" y="5157192"/>
            <a:ext cx="2438044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Se apoya en Estándares Técnicos:</a:t>
              </a:r>
              <a:r>
                <a:rPr lang="es-MX" sz="1700" b="1" kern="1200" dirty="0" smtClean="0"/>
                <a:t> NORSOK y NPD </a:t>
              </a:r>
              <a:r>
                <a:rPr lang="es-MX" sz="1700" kern="1200" dirty="0" smtClean="0"/>
                <a:t> </a:t>
              </a:r>
              <a:endParaRPr lang="es-CO" sz="1700" kern="1200" dirty="0"/>
            </a:p>
          </p:txBody>
        </p:sp>
      </p:grpSp>
      <p:cxnSp>
        <p:nvCxnSpPr>
          <p:cNvPr id="24" name="23 Conector angular"/>
          <p:cNvCxnSpPr>
            <a:endCxn id="23" idx="1"/>
          </p:cNvCxnSpPr>
          <p:nvPr/>
        </p:nvCxnSpPr>
        <p:spPr>
          <a:xfrm>
            <a:off x="3059832" y="5543214"/>
            <a:ext cx="648072" cy="1"/>
          </a:xfrm>
          <a:prstGeom prst="bentConnector3">
            <a:avLst>
              <a:gd name="adj1" fmla="val 50000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17 Rectángulo"/>
          <p:cNvSpPr/>
          <p:nvPr/>
        </p:nvSpPr>
        <p:spPr>
          <a:xfrm>
            <a:off x="2843808" y="3068960"/>
            <a:ext cx="303070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b="1" dirty="0"/>
              <a:t>Real Decreto No. 653 </a:t>
            </a:r>
            <a:r>
              <a:rPr lang="es-ES" b="1" dirty="0" smtClean="0"/>
              <a:t>de 1997</a:t>
            </a:r>
            <a:endParaRPr lang="es-CO" b="1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545" y="3861048"/>
            <a:ext cx="22860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312"/>
            <a:ext cx="1554480" cy="155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2084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SO: Norueg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5431222"/>
              </p:ext>
            </p:extLst>
          </p:nvPr>
        </p:nvGraphicFramePr>
        <p:xfrm>
          <a:off x="467544" y="2348880"/>
          <a:ext cx="8229600" cy="293624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</a:t>
                      </a:r>
                      <a:r>
                        <a:rPr lang="es-MX" baseline="0" dirty="0" smtClean="0"/>
                        <a:t> Técnico del Sistem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GASSCO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itchFamily="34" charset="0"/>
                        <a:buChar char="•"/>
                      </a:pPr>
                      <a:r>
                        <a:rPr lang="es-ES" sz="1800" kern="1200" dirty="0" smtClean="0">
                          <a:effectLst/>
                        </a:rPr>
                        <a:t>Reglamento de Medición de productos del petróleo para propósitos fiscales y para el cálculo de los impuestos de CO</a:t>
                      </a:r>
                      <a:r>
                        <a:rPr lang="es-ES" sz="1800" kern="1200" baseline="-25000" dirty="0" smtClean="0">
                          <a:effectLst/>
                        </a:rPr>
                        <a:t>2</a:t>
                      </a:r>
                      <a:endParaRPr lang="es-CO" sz="1800" b="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15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NORSOK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NPD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312"/>
            <a:ext cx="1554480" cy="1554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0521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SUR AMERIC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98531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Argentina 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46063673"/>
              </p:ext>
            </p:extLst>
          </p:nvPr>
        </p:nvGraphicFramePr>
        <p:xfrm>
          <a:off x="0" y="1600200"/>
          <a:ext cx="9144000" cy="43490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5 Conector recto"/>
          <p:cNvCxnSpPr/>
          <p:nvPr/>
        </p:nvCxnSpPr>
        <p:spPr>
          <a:xfrm>
            <a:off x="7164288" y="4797152"/>
            <a:ext cx="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2051720" y="4797152"/>
            <a:ext cx="0" cy="36004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http://t1.gstatic.com/images?q=tbn:ANd9GcRjLoWuukyP22eC7CD1-w52l3Xsi1aLFn1hRD5hhPyg06D4LyKuv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54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Argentin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2819156"/>
              </p:ext>
            </p:extLst>
          </p:nvPr>
        </p:nvGraphicFramePr>
        <p:xfrm>
          <a:off x="467544" y="2060848"/>
          <a:ext cx="8229600" cy="37541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es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Transportadora</a:t>
                      </a:r>
                      <a:r>
                        <a:rPr lang="es-MX" baseline="0" dirty="0" smtClean="0"/>
                        <a:t> de Gas del Nort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ransportadora de Gas del Sur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s-MX" sz="1800" dirty="0" smtClean="0"/>
                        <a:t>Reglamento técnico y metrológico para los sistemas de medición de gas natural con medidor ultrasónico</a:t>
                      </a:r>
                      <a:endParaRPr lang="es-CO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k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15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GA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PI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098" name="Picture 2" descr="http://t1.gstatic.com/images?q=tbn:ANd9GcRjLoWuukyP22eC7CD1-w52l3Xsi1aLFn1hRD5hhPyg06D4LyKuv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0820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Brasil</a:t>
            </a:r>
            <a:endParaRPr lang="es-CO" dirty="0"/>
          </a:p>
        </p:txBody>
      </p:sp>
      <p:grpSp>
        <p:nvGrpSpPr>
          <p:cNvPr id="4" name="3 Grupo"/>
          <p:cNvGrpSpPr/>
          <p:nvPr/>
        </p:nvGrpSpPr>
        <p:grpSpPr>
          <a:xfrm>
            <a:off x="3563888" y="1484784"/>
            <a:ext cx="201622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5" name="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Brasil</a:t>
              </a:r>
              <a:endParaRPr lang="es-CO" sz="1700" kern="1200" dirty="0"/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1403648" y="3467100"/>
            <a:ext cx="201622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Agência Nacional do Petroleo - ANP,</a:t>
              </a:r>
              <a:endParaRPr lang="es-CO" sz="1700" kern="1200" dirty="0"/>
            </a:p>
          </p:txBody>
        </p:sp>
      </p:grpSp>
      <p:grpSp>
        <p:nvGrpSpPr>
          <p:cNvPr id="10" name="9 Grupo"/>
          <p:cNvGrpSpPr/>
          <p:nvPr/>
        </p:nvGrpSpPr>
        <p:grpSpPr>
          <a:xfrm>
            <a:off x="5292080" y="3452501"/>
            <a:ext cx="3240359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1" name="10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2" name="11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dirty="0" smtClean="0"/>
                <a:t>Instituto </a:t>
              </a:r>
              <a:r>
                <a:rPr lang="pt-BR" sz="1600" dirty="0" smtClean="0"/>
                <a:t>nacional de metrologia, normalização e qualidade industrial - INMETRO,</a:t>
              </a:r>
              <a:endParaRPr lang="es-CO" sz="1700" kern="1200" dirty="0"/>
            </a:p>
          </p:txBody>
        </p:sp>
      </p:grpSp>
      <p:sp>
        <p:nvSpPr>
          <p:cNvPr id="13" name="12 Rectángulo"/>
          <p:cNvSpPr/>
          <p:nvPr/>
        </p:nvSpPr>
        <p:spPr>
          <a:xfrm>
            <a:off x="2290936" y="5446965"/>
            <a:ext cx="45720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r>
              <a:rPr lang="pt-BR" dirty="0"/>
              <a:t>Regulamento Técnico de Medição de Petróleo e Gás Natural,</a:t>
            </a:r>
            <a:endParaRPr lang="es-CO" dirty="0"/>
          </a:p>
        </p:txBody>
      </p:sp>
      <p:cxnSp>
        <p:nvCxnSpPr>
          <p:cNvPr id="17" name="16 Conector angular"/>
          <p:cNvCxnSpPr>
            <a:stCxn id="5" idx="2"/>
            <a:endCxn id="12" idx="0"/>
          </p:cNvCxnSpPr>
          <p:nvPr/>
        </p:nvCxnSpPr>
        <p:spPr>
          <a:xfrm rot="16200000" flipH="1">
            <a:off x="5171270" y="1711510"/>
            <a:ext cx="1141721" cy="234026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angular"/>
          <p:cNvCxnSpPr>
            <a:stCxn id="9" idx="2"/>
            <a:endCxn id="13" idx="0"/>
          </p:cNvCxnSpPr>
          <p:nvPr/>
        </p:nvCxnSpPr>
        <p:spPr>
          <a:xfrm rot="16200000" flipH="1">
            <a:off x="2917414" y="3787442"/>
            <a:ext cx="1153869" cy="2165176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23 Conector angular"/>
          <p:cNvCxnSpPr>
            <a:stCxn id="12" idx="2"/>
            <a:endCxn id="13" idx="0"/>
          </p:cNvCxnSpPr>
          <p:nvPr/>
        </p:nvCxnSpPr>
        <p:spPr>
          <a:xfrm rot="5400000">
            <a:off x="5160364" y="3695069"/>
            <a:ext cx="1168468" cy="2335324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angular"/>
          <p:cNvCxnSpPr>
            <a:stCxn id="6" idx="2"/>
            <a:endCxn id="8" idx="0"/>
          </p:cNvCxnSpPr>
          <p:nvPr/>
        </p:nvCxnSpPr>
        <p:spPr>
          <a:xfrm rot="5400000">
            <a:off x="2913720" y="1808820"/>
            <a:ext cx="1156320" cy="2160240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http://t2.gstatic.com/images?q=tbn:ANd9GcTcOhE59D0ClLh9eSLoP8MtB8tkpYv-pIvpXoeSFQcm9-umNfW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6" y="10839"/>
            <a:ext cx="1554480" cy="155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5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52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53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54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5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6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57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8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9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60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61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62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63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4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5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066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2563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64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067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8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9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0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1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72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3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4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5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6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7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8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9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80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1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2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083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561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62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084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5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6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7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8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9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0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91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92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3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4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5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6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7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8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9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0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01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551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2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3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4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5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6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7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8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9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60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02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3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4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5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06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548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9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50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07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8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9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0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1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2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3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4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5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6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7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8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9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20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1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2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3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24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539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0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1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2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3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4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5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6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7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25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6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7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8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9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0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1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2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3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4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5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6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7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38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508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9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0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1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2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3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4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5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6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7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8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9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0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1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2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3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4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5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6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7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28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9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0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31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2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3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34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5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6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7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8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grpSp>
        <p:nvGrpSpPr>
          <p:cNvPr id="2139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499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0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1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2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3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4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5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6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7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40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1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2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3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44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  <a:solidFill>
            <a:srgbClr val="FFC000"/>
          </a:solidFill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146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7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8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49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0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1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2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3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4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55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6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57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8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9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0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1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62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3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4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5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6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7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8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9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0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171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72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73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4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5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6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7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8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9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0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1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2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3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4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5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6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7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8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9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0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1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2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3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4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5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6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7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8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9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0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1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2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3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4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5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06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7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08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09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0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1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4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5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6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7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8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7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8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9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0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21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2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3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4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5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6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7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8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9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0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1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2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3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4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5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36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7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8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9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40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1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2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3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4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5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6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7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8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9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0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1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2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3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4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5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6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7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8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259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9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0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1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2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2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3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4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5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6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7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8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9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0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491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2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493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4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5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6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7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8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260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1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2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3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4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5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6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7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8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9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0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1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2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3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4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5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6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7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8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9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0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1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2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3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4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5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6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7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8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9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0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1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2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3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4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95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6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7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8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9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0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1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2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3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4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5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6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7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8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9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0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1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2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13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4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15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0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1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2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316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7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18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3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6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7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8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9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30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31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048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049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319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0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1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322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2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050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14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324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329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4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5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  <a:solidFill>
            <a:srgbClr val="FFC000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325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6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7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8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rgbClr val="FFC000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33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5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5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6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6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41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546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7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413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4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5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6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7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8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9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0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421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548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49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0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1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2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422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3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4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5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6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7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8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9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30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31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3" name="2 CuadroTexto"/>
          <p:cNvSpPr txBox="1"/>
          <p:nvPr/>
        </p:nvSpPr>
        <p:spPr>
          <a:xfrm>
            <a:off x="2411412" y="3221464"/>
            <a:ext cx="10112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Venezuela</a:t>
            </a:r>
          </a:p>
        </p:txBody>
      </p:sp>
      <p:sp>
        <p:nvSpPr>
          <p:cNvPr id="553" name="552 CuadroTexto"/>
          <p:cNvSpPr txBox="1"/>
          <p:nvPr/>
        </p:nvSpPr>
        <p:spPr>
          <a:xfrm>
            <a:off x="2328863" y="3933825"/>
            <a:ext cx="8985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Brasil</a:t>
            </a:r>
          </a:p>
        </p:txBody>
      </p:sp>
      <p:sp>
        <p:nvSpPr>
          <p:cNvPr id="554" name="553 CuadroTexto"/>
          <p:cNvSpPr txBox="1"/>
          <p:nvPr/>
        </p:nvSpPr>
        <p:spPr>
          <a:xfrm>
            <a:off x="1602581" y="4640263"/>
            <a:ext cx="900112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rgentina</a:t>
            </a:r>
          </a:p>
        </p:txBody>
      </p:sp>
      <p:sp>
        <p:nvSpPr>
          <p:cNvPr id="555" name="554 CuadroTexto"/>
          <p:cNvSpPr txBox="1"/>
          <p:nvPr/>
        </p:nvSpPr>
        <p:spPr>
          <a:xfrm>
            <a:off x="720725" y="2935288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México</a:t>
            </a:r>
          </a:p>
        </p:txBody>
      </p:sp>
      <p:sp>
        <p:nvSpPr>
          <p:cNvPr id="556" name="555 CuadroTexto"/>
          <p:cNvSpPr txBox="1"/>
          <p:nvPr/>
        </p:nvSpPr>
        <p:spPr>
          <a:xfrm>
            <a:off x="1193800" y="2266950"/>
            <a:ext cx="8985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E.E.U.U</a:t>
            </a:r>
          </a:p>
        </p:txBody>
      </p:sp>
      <p:sp>
        <p:nvSpPr>
          <p:cNvPr id="557" name="556 CuadroTexto"/>
          <p:cNvSpPr txBox="1"/>
          <p:nvPr/>
        </p:nvSpPr>
        <p:spPr>
          <a:xfrm>
            <a:off x="1298575" y="1716088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Canadá</a:t>
            </a:r>
          </a:p>
        </p:txBody>
      </p:sp>
      <p:sp>
        <p:nvSpPr>
          <p:cNvPr id="558" name="557 CuadroTexto"/>
          <p:cNvSpPr txBox="1"/>
          <p:nvPr/>
        </p:nvSpPr>
        <p:spPr>
          <a:xfrm>
            <a:off x="5499100" y="163195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Rusia</a:t>
            </a:r>
          </a:p>
        </p:txBody>
      </p:sp>
      <p:sp>
        <p:nvSpPr>
          <p:cNvPr id="559" name="558 CuadroTexto"/>
          <p:cNvSpPr txBox="1"/>
          <p:nvPr/>
        </p:nvSpPr>
        <p:spPr>
          <a:xfrm>
            <a:off x="6804025" y="2287588"/>
            <a:ext cx="11938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Corea del Norte</a:t>
            </a:r>
          </a:p>
        </p:txBody>
      </p:sp>
      <p:sp>
        <p:nvSpPr>
          <p:cNvPr id="560" name="559 CuadroTexto"/>
          <p:cNvSpPr txBox="1"/>
          <p:nvPr/>
        </p:nvSpPr>
        <p:spPr>
          <a:xfrm>
            <a:off x="6792913" y="4354513"/>
            <a:ext cx="90011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ustralia</a:t>
            </a:r>
          </a:p>
        </p:txBody>
      </p:sp>
      <p:sp>
        <p:nvSpPr>
          <p:cNvPr id="561" name="560 CuadroTexto"/>
          <p:cNvSpPr txBox="1"/>
          <p:nvPr/>
        </p:nvSpPr>
        <p:spPr>
          <a:xfrm>
            <a:off x="4211638" y="4735513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Sudáfrica</a:t>
            </a:r>
          </a:p>
        </p:txBody>
      </p:sp>
      <p:sp>
        <p:nvSpPr>
          <p:cNvPr id="562" name="561 CuadroTexto"/>
          <p:cNvSpPr txBox="1"/>
          <p:nvPr/>
        </p:nvSpPr>
        <p:spPr>
          <a:xfrm>
            <a:off x="3168650" y="2360613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España</a:t>
            </a:r>
          </a:p>
        </p:txBody>
      </p:sp>
      <p:sp>
        <p:nvSpPr>
          <p:cNvPr id="563" name="562 CuadroTexto"/>
          <p:cNvSpPr txBox="1"/>
          <p:nvPr/>
        </p:nvSpPr>
        <p:spPr>
          <a:xfrm>
            <a:off x="3924300" y="243205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Italia</a:t>
            </a:r>
          </a:p>
        </p:txBody>
      </p:sp>
      <p:sp>
        <p:nvSpPr>
          <p:cNvPr id="564" name="563 CuadroTexto"/>
          <p:cNvSpPr txBox="1"/>
          <p:nvPr/>
        </p:nvSpPr>
        <p:spPr>
          <a:xfrm>
            <a:off x="4143375" y="2003425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lemania</a:t>
            </a:r>
          </a:p>
        </p:txBody>
      </p:sp>
      <p:sp>
        <p:nvSpPr>
          <p:cNvPr id="565" name="564 CuadroTexto"/>
          <p:cNvSpPr txBox="1"/>
          <p:nvPr/>
        </p:nvSpPr>
        <p:spPr>
          <a:xfrm>
            <a:off x="3594100" y="1735138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Holanda</a:t>
            </a:r>
          </a:p>
        </p:txBody>
      </p:sp>
      <p:sp>
        <p:nvSpPr>
          <p:cNvPr id="566" name="565 CuadroTexto"/>
          <p:cNvSpPr txBox="1"/>
          <p:nvPr/>
        </p:nvSpPr>
        <p:spPr>
          <a:xfrm>
            <a:off x="3744913" y="135255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Noruega</a:t>
            </a:r>
          </a:p>
        </p:txBody>
      </p:sp>
      <p:sp>
        <p:nvSpPr>
          <p:cNvPr id="567" name="566 CuadroTexto"/>
          <p:cNvSpPr txBox="1">
            <a:spLocks noChangeArrowheads="1"/>
          </p:cNvSpPr>
          <p:nvPr/>
        </p:nvSpPr>
        <p:spPr bwMode="auto">
          <a:xfrm>
            <a:off x="52387" y="260648"/>
            <a:ext cx="89614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CO" sz="2800" dirty="0">
                <a:latin typeface="+mj-lt"/>
              </a:rPr>
              <a:t>Países seleccionadas para la evaluación de criterios</a:t>
            </a:r>
          </a:p>
        </p:txBody>
      </p:sp>
      <p:sp>
        <p:nvSpPr>
          <p:cNvPr id="14336" name="AutoShape 3" descr="data:image/jpeg;base64,/9j/4AAQSkZJRgABAQAAAQABAAD/2wCEAAkGBhQREQ8PDhQUFRUSFxgVFRQWFBQWGhcYFxUVFBoVGRsXHCYfGRwjGh4YHy8sLyosMC44GSAxNTMqNSgrLSkBCQoKDQwOGQ8PGjEkHiQwLzQyLzI1MiwvNC0qNSwpKiwtKS0sMiwpNCkpLCw0LCkpLCwsLSw0KSwsNCwpLCwqKf/AABEIAEwAeAMBIgACEQEDEQH/xAAcAAEAAgMBAQEAAAAAAAAAAAAAAgYEBQcBAwj/xAA+EAABAwICBgcCCwkAAAAAAAABAAIDBBEFEgYHEyExQRQiUWFxgZEyghUXI0JSZHKSoqTjY5OUobHB0dPw/8QAGQEBAAMBAQAAAAAAAAAAAAAAAAIDBAEF/8QAIxEAAwACAgEEAwEAAAAAAAAAAAECAxESMRNBUWGBISIyBP/aAAwDAQACEQMRAD8A7iiIgCIiAIiIAiIgCIiAIiIAiIgCIiAKuab6Xtw2BszmbRz3hjWZst9xJN7HgB2KxrW4rgEFVk6VEyXJfLnF7Xte3oPRShyn+3RGt6/BzT4+Pqf5j9JPj4+p/mP0lQ9NDE6vqGUkbWRsfs2NYNxLOqT4l112fDtBKKnpI+lU8LnRRAyyOaCSWtzPJPjdejkjBjlNz2YorLbaT6M+l0wjFFDXVuWnErcwYXZjY+yBuBcSLHcOaqOI69IWkinp5JB9J72x38AA4/0XPa+umxeujjZuD3COCP5sUY4Cw4ANFz4eC6hDgGD4aG09WYXSloLnTDM5wNxcCxDRuNrKDw48f9Jtv0RJZLv+Xpe589Htc8FRKyGoidAXkNa/OHsudwDjYEXPcrbpLpVBQR7Wpda+5jGi73kcmj+/ALl2FaAYdNPGyDEdo4uuI2xi5DTmIvfsHFavXDNIcSeJAQ1rGCK/Attcke9e/gngxXkUz+B5ckw2zeV2vWS52FMwN5bSRzifJoAHqV9cL16HOBV07Qw8XRPNwO3K72vUKt6C6XUdIx8dZSCVz3E7XKx5DSAMuV/ADfwO+6sOj2geE4gXmlqKglvWdEcjHNBPYWXy8rq28eGNqoevchN5K1qvo6ZimONhijlY0ymVzGRMaQC90nCxduAt1vAFYjsbqgCTQvsOfSKf/K+QiEtfHG0fJ0EYNuW1lGVg92IO/eBUrXPpa9pZh0JIDm55iOJBNmx+G657d3esWPHzpSjVd8U6ZbsM0xmqQ91PRue1jiwvFRBlLha4ab9a3aFlO0hqGZTNRuYwuY0vM8By53tYDYG53kKrak8cElLJRkWdA7MD9JshJ9Q648wrTjh21VRUY4Nd0qX7MRAjB8ZSD7hTJCm3OhFOpVbLEiIs5cFp9LMY6JR1NTzjYcv2z1W/iIW4Vd010WOIwNptqYm5w9xDM+awNh7Qtv3+SnGuS5dEb3xeuzierfCOlYjTtdvbGds/nuZ1hfxdlXadYeb4Mrtne+yPDsuM34brC0G1eMw100glMrpA1oJYGZWgkke0b3Nvuq3PYCCHAEHcQd4IPEFaM+ZXkVLpFGHE5hp9s/O2rXGYaXEIpqk5WZXtz8mlwsCbcuXmrBrVp6J+atgqdtPK5jQxskbmtYG7zZouBYdvEqxYzqSp5Xl9NK+C5vkyiRo+zcggeZWJS6iIwflap7h2Miaw+rnOWl5sLtZNtMo8WRTw0VrV0TSQV+Llmfo7RFG03AL3ubm3jhZuX7y2kWs+CvligxSlgEJJvI4vcWbuI3XFzYLpWFaIU9PSOoWtLonZs4ebl2biSR/wsFTa7UZA5xMFRLGD81zWyW7gbtPqq/Nium7+mT8eSZSkpWnsGFsEfwU5xkzdexe6MNseb+d7cO9bDU3QkVM9a+7YaeJ+d/K5F7d9mgu9O0K0YdqOpmkGomllt80BsYPja5/mrbiOi7TROoaTJAx1huYXDLmBcCA5pOYbib812/8ARHDxy2/lnJw1y5ta+D3RCB3R9vILSVTzUPHMbS2Rvuxhg8lznXjgYbJT1rTvkvE8d7QXNd6XB8AuiCgr+VVT/wAG7/esDENFKmeSGWeemeYbmMOo3Foc613ZdvYncLX4LPivhk57L8k8o46NJqc0Vkp4paucFrqgNDGncRGLnMRyzEi3cB2q0aL/ACz6uuPCeTZxH9jDdjSO5z9o7zCjPhde9rmdLgGYFt20jgRcWuDt+K3WHULYYooI9zY2tY3waAAoZL5N0+2SiOKSXoZSIipLQolSXlkBFFKyWQEUUrLyyA8RSslkBFFKyWQEUUrJZARXoXtksgPUREAREQBERAEREAREQBERAEREAREQBERAf//Z"/>
          <p:cNvSpPr>
            <a:spLocks noChangeAspect="1" noChangeArrowheads="1"/>
          </p:cNvSpPr>
          <p:nvPr/>
        </p:nvSpPr>
        <p:spPr bwMode="auto">
          <a:xfrm>
            <a:off x="155575" y="-342900"/>
            <a:ext cx="1143000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53082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Brasil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08587821"/>
              </p:ext>
            </p:extLst>
          </p:nvPr>
        </p:nvGraphicFramePr>
        <p:xfrm>
          <a:off x="467544" y="1772816"/>
          <a:ext cx="8229600" cy="4033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TRANSPETRO PETROBRAS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pt-BR" dirty="0" smtClean="0"/>
                        <a:t>Regulamento Técnico de Medição de Petróleo e Gás Natural (2000)</a:t>
                      </a:r>
                      <a:endParaRPr lang="es-CO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k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20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GA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PI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NP (Brasil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NMETRO</a:t>
                      </a:r>
                      <a:r>
                        <a:rPr lang="es-MX" baseline="0" dirty="0" smtClean="0"/>
                        <a:t> (Brasil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ABNT (Brasil)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0" name="Picture 2" descr="http://t2.gstatic.com/images?q=tbn:ANd9GcTcOhE59D0ClLh9eSLoP8MtB8tkpYv-pIvpXoeSFQcm9-umNfW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76" y="10839"/>
            <a:ext cx="1554480" cy="1554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8050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Venezuela</a:t>
            </a:r>
            <a:endParaRPr lang="es-CO" dirty="0"/>
          </a:p>
        </p:txBody>
      </p:sp>
      <p:grpSp>
        <p:nvGrpSpPr>
          <p:cNvPr id="4" name="3 Grupo"/>
          <p:cNvGrpSpPr/>
          <p:nvPr/>
        </p:nvGrpSpPr>
        <p:grpSpPr>
          <a:xfrm>
            <a:off x="3563888" y="1484784"/>
            <a:ext cx="201622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5" name="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Venezuela</a:t>
              </a:r>
              <a:endParaRPr lang="es-CO" sz="1700" kern="1200" dirty="0"/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1187624" y="3467100"/>
            <a:ext cx="2592288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Ministerio del Energia  y Petroleo</a:t>
              </a:r>
            </a:p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kern="1200" dirty="0" smtClean="0"/>
                <a:t>MENPET</a:t>
              </a:r>
              <a:endParaRPr lang="es-CO" sz="1700" kern="1200" dirty="0"/>
            </a:p>
          </p:txBody>
        </p:sp>
      </p:grpSp>
      <p:grpSp>
        <p:nvGrpSpPr>
          <p:cNvPr id="10" name="9 Grupo"/>
          <p:cNvGrpSpPr/>
          <p:nvPr/>
        </p:nvGrpSpPr>
        <p:grpSpPr>
          <a:xfrm>
            <a:off x="5292080" y="3452501"/>
            <a:ext cx="3240359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1" name="10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2" name="11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ES" sz="1600" dirty="0" smtClean="0"/>
                <a:t>Ente Nacional  del Gas</a:t>
              </a:r>
            </a:p>
            <a:p>
              <a:pPr algn="ctr"/>
              <a:r>
                <a:rPr lang="es-ES" sz="1600" kern="1200" dirty="0" smtClean="0"/>
                <a:t>ENAGAS</a:t>
              </a:r>
              <a:endParaRPr lang="es-CO" sz="1700" kern="1200" dirty="0"/>
            </a:p>
          </p:txBody>
        </p:sp>
      </p:grpSp>
      <p:sp>
        <p:nvSpPr>
          <p:cNvPr id="13" name="12 Rectángulo"/>
          <p:cNvSpPr/>
          <p:nvPr/>
        </p:nvSpPr>
        <p:spPr>
          <a:xfrm>
            <a:off x="3418909" y="5877272"/>
            <a:ext cx="45720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lvl="1"/>
            <a:r>
              <a:rPr lang="es-ES" dirty="0" smtClean="0"/>
              <a:t>Normas </a:t>
            </a:r>
            <a:r>
              <a:rPr lang="es-ES" dirty="0"/>
              <a:t>técnicas para la Fiscalización Automatizada del Gas Natural. </a:t>
            </a:r>
            <a:r>
              <a:rPr lang="es-ES" dirty="0" smtClean="0"/>
              <a:t> (2007)</a:t>
            </a:r>
            <a:endParaRPr lang="es-ES_tradnl" dirty="0"/>
          </a:p>
        </p:txBody>
      </p:sp>
      <p:cxnSp>
        <p:nvCxnSpPr>
          <p:cNvPr id="17" name="16 Conector angular"/>
          <p:cNvCxnSpPr>
            <a:stCxn id="5" idx="2"/>
            <a:endCxn id="12" idx="0"/>
          </p:cNvCxnSpPr>
          <p:nvPr/>
        </p:nvCxnSpPr>
        <p:spPr>
          <a:xfrm rot="16200000" flipH="1">
            <a:off x="5171270" y="1711510"/>
            <a:ext cx="1141721" cy="234026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angular"/>
          <p:cNvCxnSpPr>
            <a:stCxn id="9" idx="2"/>
            <a:endCxn id="13" idx="1"/>
          </p:cNvCxnSpPr>
          <p:nvPr/>
        </p:nvCxnSpPr>
        <p:spPr>
          <a:xfrm rot="16200000" flipH="1">
            <a:off x="1997667" y="4779196"/>
            <a:ext cx="1907342" cy="935141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angular"/>
          <p:cNvCxnSpPr>
            <a:stCxn id="6" idx="2"/>
            <a:endCxn id="8" idx="0"/>
          </p:cNvCxnSpPr>
          <p:nvPr/>
        </p:nvCxnSpPr>
        <p:spPr>
          <a:xfrm rot="5400000">
            <a:off x="3012441" y="1907541"/>
            <a:ext cx="1156320" cy="1962798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2" descr="http://t3.gstatic.com/images?q=tbn:ANd9GcQ067hAXso45uojrsBO9QidvnHG-Dm28evQqblSejtfPU_sp26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" y="64418"/>
            <a:ext cx="12763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12 Rectángulo"/>
          <p:cNvSpPr/>
          <p:nvPr/>
        </p:nvSpPr>
        <p:spPr>
          <a:xfrm>
            <a:off x="3396884" y="4869160"/>
            <a:ext cx="4572000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/>
            <a:r>
              <a:rPr lang="pt-BR" dirty="0" smtClean="0"/>
              <a:t>Ley Organica de Hidrocarburos Gaseosos (1999) y Reglamento (2000)</a:t>
            </a:r>
            <a:endParaRPr lang="es-CO" dirty="0"/>
          </a:p>
        </p:txBody>
      </p:sp>
      <p:cxnSp>
        <p:nvCxnSpPr>
          <p:cNvPr id="30" name="21 Conector angular"/>
          <p:cNvCxnSpPr>
            <a:endCxn id="29" idx="1"/>
          </p:cNvCxnSpPr>
          <p:nvPr/>
        </p:nvCxnSpPr>
        <p:spPr>
          <a:xfrm>
            <a:off x="2483768" y="4293096"/>
            <a:ext cx="913116" cy="899230"/>
          </a:xfrm>
          <a:prstGeom prst="bentConnector3">
            <a:avLst>
              <a:gd name="adj1" fmla="val 2661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70746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Venezuel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48447727"/>
              </p:ext>
            </p:extLst>
          </p:nvPr>
        </p:nvGraphicFramePr>
        <p:xfrm>
          <a:off x="467544" y="1340768"/>
          <a:ext cx="8229600" cy="32105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DVSA GAS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8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rmas técnicas para la Fiscalización Automatizada del Gas Natural.</a:t>
                      </a:r>
                      <a:r>
                        <a:rPr lang="es-ES" sz="18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2007)</a:t>
                      </a:r>
                      <a:endParaRPr lang="es-CO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15,6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Referencias</a:t>
                      </a:r>
                      <a:r>
                        <a:rPr lang="es-CO" baseline="0" dirty="0" smtClean="0"/>
                        <a:t> técnicas 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GA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API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 descr="http://t3.gstatic.com/images?q=tbn:ANd9GcQ067hAXso45uojrsBO9QidvnHG-Dm28evQqblSejtfPU_sp26h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0" y="64418"/>
            <a:ext cx="1276350" cy="1276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348553"/>
              </p:ext>
            </p:extLst>
          </p:nvPr>
        </p:nvGraphicFramePr>
        <p:xfrm>
          <a:off x="467544" y="4581128"/>
          <a:ext cx="8229600" cy="21842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72338"/>
                <a:gridCol w="5536374"/>
                <a:gridCol w="1820888"/>
              </a:tblGrid>
              <a:tr h="351971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2000" dirty="0">
                          <a:effectLst/>
                        </a:rPr>
                        <a:t>Clase</a:t>
                      </a:r>
                      <a:endParaRPr lang="es-ES_tradnl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2000" dirty="0">
                          <a:effectLst/>
                        </a:rPr>
                        <a:t>Propósito</a:t>
                      </a:r>
                      <a:endParaRPr lang="es-ES_tradnl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2000" dirty="0">
                          <a:effectLst/>
                        </a:rPr>
                        <a:t>Incertidumbre</a:t>
                      </a:r>
                      <a:endParaRPr lang="es-ES_tradnl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12125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1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edición fiscal o transferencia de custodia de gas con alto contenido de C2, o de alto poder calorífico. 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1%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04056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G2</a:t>
                      </a:r>
                      <a:endParaRPr lang="es-ES_tradnl" sz="16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edición fiscal o transferencia de custodia de gas con alto contenido de metano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2%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576064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>
                          <a:effectLst/>
                        </a:rPr>
                        <a:t>G3</a:t>
                      </a:r>
                      <a:endParaRPr lang="es-ES_tradnl" sz="16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edición de gas para utilizarlo como combustible, levantamiento </a:t>
                      </a:r>
                      <a:r>
                        <a:rPr lang="es-ES" sz="1600" dirty="0" smtClean="0">
                          <a:effectLst/>
                        </a:rPr>
                        <a:t>de gas</a:t>
                      </a:r>
                      <a:r>
                        <a:rPr lang="es-ES" sz="1600" dirty="0">
                          <a:effectLst/>
                        </a:rPr>
                        <a:t>, gas de inyección, remoción de oxigeno:  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3%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40078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G4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Medición de gas a venteo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ES" sz="1600" dirty="0">
                          <a:effectLst/>
                        </a:rPr>
                        <a:t>5%</a:t>
                      </a:r>
                      <a:endParaRPr lang="es-ES_tradnl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363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NORTE AMERIC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139570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http://www.gifss.es/banderas/estados/bandera-usa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0" r="9853"/>
          <a:stretch/>
        </p:blipFill>
        <p:spPr bwMode="auto">
          <a:xfrm>
            <a:off x="31765" y="0"/>
            <a:ext cx="2163971" cy="2034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stados Unidos</a:t>
            </a:r>
            <a:endParaRPr lang="es-CO" dirty="0"/>
          </a:p>
        </p:txBody>
      </p:sp>
      <p:grpSp>
        <p:nvGrpSpPr>
          <p:cNvPr id="4" name="3 Grupo"/>
          <p:cNvGrpSpPr/>
          <p:nvPr/>
        </p:nvGrpSpPr>
        <p:grpSpPr>
          <a:xfrm>
            <a:off x="2195736" y="1378868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5" name="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ESTADOS UNIDOS</a:t>
              </a:r>
              <a:endParaRPr lang="es-CO" sz="1700" kern="1200" dirty="0"/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1691680" y="2924945"/>
            <a:ext cx="2990587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Department of Energy </a:t>
              </a:r>
            </a:p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DOE</a:t>
              </a:r>
              <a:endParaRPr lang="es-CO" sz="1700" kern="1200" dirty="0"/>
            </a:p>
          </p:txBody>
        </p:sp>
      </p:grpSp>
      <p:cxnSp>
        <p:nvCxnSpPr>
          <p:cNvPr id="28" name="27 Conector angular"/>
          <p:cNvCxnSpPr>
            <a:stCxn id="6" idx="2"/>
            <a:endCxn id="8" idx="0"/>
          </p:cNvCxnSpPr>
          <p:nvPr/>
        </p:nvCxnSpPr>
        <p:spPr>
          <a:xfrm rot="16200000" flipH="1">
            <a:off x="2971021" y="2564285"/>
            <a:ext cx="720081" cy="1237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5" name="6 Grupo"/>
          <p:cNvGrpSpPr/>
          <p:nvPr/>
        </p:nvGrpSpPr>
        <p:grpSpPr>
          <a:xfrm>
            <a:off x="1691680" y="4547219"/>
            <a:ext cx="2990587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26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7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i="1" dirty="0"/>
                <a:t>Federal </a:t>
              </a:r>
              <a:r>
                <a:rPr lang="es-CO" sz="1600" i="1" dirty="0" err="1"/>
                <a:t>Energy</a:t>
              </a:r>
              <a:r>
                <a:rPr lang="es-CO" sz="1600" i="1" dirty="0"/>
                <a:t> </a:t>
              </a:r>
              <a:r>
                <a:rPr lang="es-CO" sz="1600" i="1" dirty="0" err="1"/>
                <a:t>Regulatory</a:t>
              </a:r>
              <a:r>
                <a:rPr lang="es-CO" sz="1600" i="1" dirty="0"/>
                <a:t> </a:t>
              </a:r>
              <a:endParaRPr lang="es-CO" sz="1600" i="1" dirty="0" smtClean="0"/>
            </a:p>
            <a:p>
              <a:pPr algn="ctr"/>
              <a:r>
                <a:rPr lang="es-CO" sz="1600" i="1" dirty="0" err="1" smtClean="0"/>
                <a:t>Commission</a:t>
              </a:r>
              <a:r>
                <a:rPr lang="es-CO" sz="1600" dirty="0" smtClean="0"/>
                <a:t> </a:t>
              </a:r>
              <a:r>
                <a:rPr lang="es-CO" sz="1600" dirty="0"/>
                <a:t>FERC.</a:t>
              </a:r>
              <a:endParaRPr lang="es-ES_tradnl" sz="1600" dirty="0"/>
            </a:p>
          </p:txBody>
        </p:sp>
      </p:grpSp>
      <p:grpSp>
        <p:nvGrpSpPr>
          <p:cNvPr id="29" name="6 Grupo"/>
          <p:cNvGrpSpPr/>
          <p:nvPr/>
        </p:nvGrpSpPr>
        <p:grpSpPr>
          <a:xfrm>
            <a:off x="5436098" y="2924943"/>
            <a:ext cx="2988839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30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1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dirty="0" smtClean="0"/>
                <a:t>NIST</a:t>
              </a:r>
              <a:endParaRPr lang="es-ES_tradnl" sz="1600" dirty="0"/>
            </a:p>
          </p:txBody>
        </p:sp>
      </p:grpSp>
      <p:cxnSp>
        <p:nvCxnSpPr>
          <p:cNvPr id="32" name="27 Conector angular"/>
          <p:cNvCxnSpPr>
            <a:stCxn id="6" idx="2"/>
            <a:endCxn id="30" idx="0"/>
          </p:cNvCxnSpPr>
          <p:nvPr/>
        </p:nvCxnSpPr>
        <p:spPr>
          <a:xfrm rot="16200000" flipH="1">
            <a:off x="4842752" y="692555"/>
            <a:ext cx="720079" cy="374469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27 Conector angular"/>
          <p:cNvCxnSpPr>
            <a:endCxn id="26" idx="0"/>
          </p:cNvCxnSpPr>
          <p:nvPr/>
        </p:nvCxnSpPr>
        <p:spPr>
          <a:xfrm rot="16200000" flipH="1">
            <a:off x="2932305" y="4147844"/>
            <a:ext cx="796276" cy="2474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2" name="6 Grupo"/>
          <p:cNvGrpSpPr/>
          <p:nvPr/>
        </p:nvGrpSpPr>
        <p:grpSpPr>
          <a:xfrm>
            <a:off x="5112569" y="4149080"/>
            <a:ext cx="4067943" cy="1762101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43" name="7 Rectángulo"/>
            <p:cNvSpPr/>
            <p:nvPr/>
          </p:nvSpPr>
          <p:spPr>
            <a:xfrm>
              <a:off x="3426891" y="69677"/>
              <a:ext cx="2016223" cy="724734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4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n-US" sz="1600" i="1" dirty="0"/>
                <a:t>Technology Handbook 44: “</a:t>
              </a:r>
              <a:r>
                <a:rPr lang="en-US" sz="1600" i="1" dirty="0" err="1"/>
                <a:t>Specifications,Tolerances</a:t>
              </a:r>
              <a:r>
                <a:rPr lang="en-US" sz="1600" i="1" dirty="0"/>
                <a:t>, </a:t>
              </a:r>
              <a:endParaRPr lang="en-US" sz="1600" i="1" dirty="0" smtClean="0"/>
            </a:p>
            <a:p>
              <a:pPr algn="ctr"/>
              <a:r>
                <a:rPr lang="en-US" sz="1600" i="1" dirty="0" smtClean="0"/>
                <a:t> </a:t>
              </a:r>
              <a:r>
                <a:rPr lang="en-US" sz="1600" i="1" dirty="0"/>
                <a:t>and Other Technical </a:t>
              </a:r>
              <a:r>
                <a:rPr lang="en-US" sz="1600" i="1" dirty="0" smtClean="0"/>
                <a:t>Requirements</a:t>
              </a:r>
            </a:p>
            <a:p>
              <a:pPr algn="ctr"/>
              <a:r>
                <a:rPr lang="en-US" sz="1600" i="1" dirty="0" smtClean="0"/>
                <a:t> </a:t>
              </a:r>
              <a:r>
                <a:rPr lang="en-US" sz="1600" i="1" dirty="0"/>
                <a:t>for Weighing and Measuring Devices</a:t>
              </a:r>
              <a:endParaRPr lang="es-ES_tradnl" sz="1600" dirty="0"/>
            </a:p>
          </p:txBody>
        </p:sp>
      </p:grpSp>
      <p:cxnSp>
        <p:nvCxnSpPr>
          <p:cNvPr id="46" name="27 Conector angular"/>
          <p:cNvCxnSpPr>
            <a:endCxn id="43" idx="0"/>
          </p:cNvCxnSpPr>
          <p:nvPr/>
        </p:nvCxnSpPr>
        <p:spPr>
          <a:xfrm rot="5400000">
            <a:off x="6822646" y="4022019"/>
            <a:ext cx="542150" cy="2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75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anadá</a:t>
            </a:r>
            <a:endParaRPr lang="es-CO" dirty="0"/>
          </a:p>
        </p:txBody>
      </p:sp>
      <p:grpSp>
        <p:nvGrpSpPr>
          <p:cNvPr id="4" name="3 Grupo"/>
          <p:cNvGrpSpPr/>
          <p:nvPr/>
        </p:nvGrpSpPr>
        <p:grpSpPr>
          <a:xfrm>
            <a:off x="2195736" y="1378868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5" name="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Canadá</a:t>
              </a:r>
              <a:endParaRPr lang="es-CO" sz="1700" kern="1200" dirty="0"/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1691680" y="2924945"/>
            <a:ext cx="2990587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National Energy Board NEB</a:t>
              </a:r>
              <a:endParaRPr lang="es-CO" sz="1700" kern="1200" dirty="0"/>
            </a:p>
          </p:txBody>
        </p:sp>
      </p:grpSp>
      <p:cxnSp>
        <p:nvCxnSpPr>
          <p:cNvPr id="28" name="27 Conector angular"/>
          <p:cNvCxnSpPr>
            <a:stCxn id="6" idx="2"/>
            <a:endCxn id="8" idx="0"/>
          </p:cNvCxnSpPr>
          <p:nvPr/>
        </p:nvCxnSpPr>
        <p:spPr>
          <a:xfrm rot="16200000" flipH="1">
            <a:off x="2971021" y="2564285"/>
            <a:ext cx="720081" cy="1237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9" name="6 Grupo"/>
          <p:cNvGrpSpPr/>
          <p:nvPr/>
        </p:nvGrpSpPr>
        <p:grpSpPr>
          <a:xfrm>
            <a:off x="5436098" y="2924943"/>
            <a:ext cx="2988839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30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1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dirty="0" err="1" smtClean="0"/>
                <a:t>Measurement</a:t>
              </a:r>
              <a:r>
                <a:rPr lang="es-CO" sz="1600" dirty="0" smtClean="0"/>
                <a:t> </a:t>
              </a:r>
              <a:r>
                <a:rPr lang="es-CO" sz="1600" dirty="0" err="1" smtClean="0"/>
                <a:t>Canada</a:t>
              </a:r>
              <a:endParaRPr lang="es-ES_tradnl" sz="1600" dirty="0"/>
            </a:p>
          </p:txBody>
        </p:sp>
      </p:grpSp>
      <p:cxnSp>
        <p:nvCxnSpPr>
          <p:cNvPr id="32" name="27 Conector angular"/>
          <p:cNvCxnSpPr>
            <a:stCxn id="6" idx="2"/>
            <a:endCxn id="30" idx="0"/>
          </p:cNvCxnSpPr>
          <p:nvPr/>
        </p:nvCxnSpPr>
        <p:spPr>
          <a:xfrm rot="16200000" flipH="1">
            <a:off x="4842752" y="692555"/>
            <a:ext cx="720079" cy="374469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2" name="6 Grupo"/>
          <p:cNvGrpSpPr/>
          <p:nvPr/>
        </p:nvGrpSpPr>
        <p:grpSpPr>
          <a:xfrm>
            <a:off x="5112569" y="4831061"/>
            <a:ext cx="4067943" cy="1762101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43" name="7 Rectángulo"/>
            <p:cNvSpPr/>
            <p:nvPr/>
          </p:nvSpPr>
          <p:spPr>
            <a:xfrm>
              <a:off x="3426891" y="69677"/>
              <a:ext cx="2016223" cy="724734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4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dirty="0"/>
                <a:t>LMB-EG-08 “</a:t>
              </a:r>
              <a:r>
                <a:rPr lang="es-ES" sz="1600" i="1" dirty="0"/>
                <a:t>Especificaciones para </a:t>
              </a:r>
              <a:endParaRPr lang="es-ES" sz="1600" i="1" dirty="0" smtClean="0"/>
            </a:p>
            <a:p>
              <a:pPr algn="ctr"/>
              <a:r>
                <a:rPr lang="es-ES" sz="1600" i="1" dirty="0" smtClean="0"/>
                <a:t>la </a:t>
              </a:r>
              <a:r>
                <a:rPr lang="es-ES" sz="1600" i="1" dirty="0"/>
                <a:t>aprobación de tipo de medidores </a:t>
              </a:r>
              <a:endParaRPr lang="es-ES" sz="1600" i="1" dirty="0" smtClean="0"/>
            </a:p>
            <a:p>
              <a:pPr algn="ctr"/>
              <a:r>
                <a:rPr lang="es-ES" sz="1600" i="1" dirty="0" smtClean="0"/>
                <a:t>de </a:t>
              </a:r>
              <a:r>
                <a:rPr lang="es-ES" sz="1600" i="1" dirty="0"/>
                <a:t>gas y dispositivos auxiliares</a:t>
              </a:r>
              <a:endParaRPr lang="es-ES_tradnl" sz="1600" dirty="0"/>
            </a:p>
          </p:txBody>
        </p:sp>
      </p:grpSp>
      <p:cxnSp>
        <p:nvCxnSpPr>
          <p:cNvPr id="46" name="27 Conector angular"/>
          <p:cNvCxnSpPr>
            <a:stCxn id="30" idx="2"/>
          </p:cNvCxnSpPr>
          <p:nvPr/>
        </p:nvCxnSpPr>
        <p:spPr>
          <a:xfrm rot="5400000">
            <a:off x="6480025" y="4346053"/>
            <a:ext cx="1190228" cy="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2143125" cy="2143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3" name="6 Grupo"/>
          <p:cNvGrpSpPr/>
          <p:nvPr/>
        </p:nvGrpSpPr>
        <p:grpSpPr>
          <a:xfrm>
            <a:off x="827584" y="4797152"/>
            <a:ext cx="4067943" cy="1762101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34" name="7 Rectángulo"/>
            <p:cNvSpPr/>
            <p:nvPr/>
          </p:nvSpPr>
          <p:spPr>
            <a:xfrm>
              <a:off x="3426891" y="69677"/>
              <a:ext cx="2016223" cy="724734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35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n-US" sz="1600" i="1" dirty="0" err="1" smtClean="0"/>
                <a:t>Reglamentos</a:t>
              </a:r>
              <a:r>
                <a:rPr lang="en-US" sz="1600" i="1" dirty="0" smtClean="0"/>
                <a:t> de La Ley de </a:t>
              </a:r>
              <a:r>
                <a:rPr lang="en-US" sz="1600" i="1" dirty="0" err="1" smtClean="0"/>
                <a:t>Inspeccion</a:t>
              </a:r>
              <a:r>
                <a:rPr lang="en-US" sz="1600" i="1" dirty="0" smtClean="0"/>
                <a:t> de </a:t>
              </a:r>
              <a:r>
                <a:rPr lang="en-US" sz="1600" i="1" dirty="0" err="1" smtClean="0"/>
                <a:t>Electricidad</a:t>
              </a:r>
              <a:r>
                <a:rPr lang="en-US" sz="1600" i="1" dirty="0" smtClean="0"/>
                <a:t> y Gas</a:t>
              </a:r>
              <a:endParaRPr lang="es-ES_tradnl" sz="1600" dirty="0"/>
            </a:p>
          </p:txBody>
        </p:sp>
      </p:grpSp>
      <p:cxnSp>
        <p:nvCxnSpPr>
          <p:cNvPr id="36" name="27 Conector angular"/>
          <p:cNvCxnSpPr>
            <a:endCxn id="34" idx="0"/>
          </p:cNvCxnSpPr>
          <p:nvPr/>
        </p:nvCxnSpPr>
        <p:spPr>
          <a:xfrm rot="10800000" flipV="1">
            <a:off x="2808736" y="4346055"/>
            <a:ext cx="4284985" cy="595111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975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éxico</a:t>
            </a:r>
            <a:endParaRPr lang="es-CO" dirty="0"/>
          </a:p>
        </p:txBody>
      </p:sp>
      <p:grpSp>
        <p:nvGrpSpPr>
          <p:cNvPr id="4" name="3 Grupo"/>
          <p:cNvGrpSpPr/>
          <p:nvPr/>
        </p:nvGrpSpPr>
        <p:grpSpPr>
          <a:xfrm>
            <a:off x="1475656" y="1378868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5" name="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6" name="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MEXICO</a:t>
              </a:r>
              <a:endParaRPr lang="es-CO" sz="1700" kern="1200" dirty="0"/>
            </a:p>
          </p:txBody>
        </p:sp>
      </p:grpSp>
      <p:grpSp>
        <p:nvGrpSpPr>
          <p:cNvPr id="7" name="6 Grupo"/>
          <p:cNvGrpSpPr/>
          <p:nvPr/>
        </p:nvGrpSpPr>
        <p:grpSpPr>
          <a:xfrm>
            <a:off x="1187624" y="3467100"/>
            <a:ext cx="2592288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Comision Nacional de Hidrocarburos</a:t>
              </a:r>
            </a:p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kern="1200" dirty="0" smtClean="0"/>
                <a:t>MENPET</a:t>
              </a:r>
              <a:endParaRPr lang="es-CO" sz="1700" kern="1200" dirty="0"/>
            </a:p>
          </p:txBody>
        </p:sp>
      </p:grpSp>
      <p:grpSp>
        <p:nvGrpSpPr>
          <p:cNvPr id="10" name="9 Grupo"/>
          <p:cNvGrpSpPr/>
          <p:nvPr/>
        </p:nvGrpSpPr>
        <p:grpSpPr>
          <a:xfrm>
            <a:off x="5580111" y="3573016"/>
            <a:ext cx="3240359" cy="617994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1" name="10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2" name="11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ES" sz="1600" dirty="0" smtClean="0"/>
                <a:t>PEMEX</a:t>
              </a:r>
              <a:endParaRPr lang="es-CO" sz="1700" kern="1200" dirty="0"/>
            </a:p>
          </p:txBody>
        </p:sp>
      </p:grpSp>
      <p:sp>
        <p:nvSpPr>
          <p:cNvPr id="13" name="12 Rectángulo"/>
          <p:cNvSpPr/>
          <p:nvPr/>
        </p:nvSpPr>
        <p:spPr>
          <a:xfrm>
            <a:off x="3418908" y="5877272"/>
            <a:ext cx="5041523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1"/>
            <a:r>
              <a:rPr lang="es-CO" dirty="0" smtClean="0"/>
              <a:t>Resolución CNH.06.001/11  </a:t>
            </a:r>
            <a:r>
              <a:rPr lang="es-CO" i="1" dirty="0" smtClean="0"/>
              <a:t>Lineamientos </a:t>
            </a:r>
            <a:r>
              <a:rPr lang="es-CO" i="1" dirty="0"/>
              <a:t>Técnicos de Medición de Hidrocarburos</a:t>
            </a:r>
            <a:r>
              <a:rPr lang="es-CO" dirty="0"/>
              <a:t> (LTMH)</a:t>
            </a:r>
            <a:endParaRPr lang="es-ES_tradnl" dirty="0"/>
          </a:p>
        </p:txBody>
      </p:sp>
      <p:cxnSp>
        <p:nvCxnSpPr>
          <p:cNvPr id="22" name="21 Conector angular"/>
          <p:cNvCxnSpPr>
            <a:stCxn id="9" idx="2"/>
            <a:endCxn id="13" idx="1"/>
          </p:cNvCxnSpPr>
          <p:nvPr/>
        </p:nvCxnSpPr>
        <p:spPr>
          <a:xfrm rot="16200000" flipH="1">
            <a:off x="1997667" y="4779197"/>
            <a:ext cx="1907342" cy="935140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27 Conector angular"/>
          <p:cNvCxnSpPr>
            <a:stCxn id="6" idx="2"/>
            <a:endCxn id="8" idx="0"/>
          </p:cNvCxnSpPr>
          <p:nvPr/>
        </p:nvCxnSpPr>
        <p:spPr>
          <a:xfrm rot="5400000">
            <a:off x="1978665" y="2835402"/>
            <a:ext cx="1262236" cy="1161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9" name="Picture 2" descr="http://t1.gstatic.com/images?q=tbn:ANd9GcRa58IifolUsdI2N6zmBMh3iw4pMYCUKQz_VXDxzB_QDGSvTFJj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58316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21 Conector angular"/>
          <p:cNvCxnSpPr>
            <a:stCxn id="9" idx="3"/>
            <a:endCxn id="11" idx="1"/>
          </p:cNvCxnSpPr>
          <p:nvPr/>
        </p:nvCxnSpPr>
        <p:spPr>
          <a:xfrm>
            <a:off x="3779912" y="3880098"/>
            <a:ext cx="1800199" cy="1915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4132841" y="3531087"/>
            <a:ext cx="1094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Regula a :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1690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éxico 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05408670"/>
              </p:ext>
            </p:extLst>
          </p:nvPr>
        </p:nvGraphicFramePr>
        <p:xfrm>
          <a:off x="467544" y="2342624"/>
          <a:ext cx="8229600" cy="23825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256624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EMEX</a:t>
                      </a:r>
                      <a:r>
                        <a:rPr lang="es-MX" baseline="0" dirty="0" smtClean="0"/>
                        <a:t> GAS Y PETROQUIMICA BASICA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ineamientos Técnicos de Medición de Hidrocarburos</a:t>
                      </a:r>
                      <a:r>
                        <a:rPr lang="es-CO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LTMH</a:t>
                      </a:r>
                      <a:endParaRPr lang="es-CO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15,6°C</a:t>
                      </a:r>
                      <a:endParaRPr lang="es-CO" dirty="0"/>
                    </a:p>
                  </a:txBody>
                  <a:tcPr/>
                </a:tc>
              </a:tr>
              <a:tr h="215488">
                <a:tc>
                  <a:txBody>
                    <a:bodyPr/>
                    <a:lstStyle/>
                    <a:p>
                      <a:r>
                        <a:rPr lang="es-CO" dirty="0" smtClean="0"/>
                        <a:t>Referencias</a:t>
                      </a:r>
                      <a:r>
                        <a:rPr lang="es-CO" baseline="0" dirty="0" smtClean="0"/>
                        <a:t> técnicas 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Normas Oficiales Mexicanas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146" name="Picture 2" descr="http://t1.gstatic.com/images?q=tbn:ANd9GcRa58IifolUsdI2N6zmBMh3iw4pMYCUKQz_VXDxzB_QDGSvTFJj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58316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9352938"/>
              </p:ext>
            </p:extLst>
          </p:nvPr>
        </p:nvGraphicFramePr>
        <p:xfrm>
          <a:off x="611560" y="5517232"/>
          <a:ext cx="8229600" cy="115212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4032448"/>
                <a:gridCol w="4197152"/>
              </a:tblGrid>
              <a:tr h="71539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2000" dirty="0">
                          <a:effectLst/>
                        </a:rPr>
                        <a:t>Medición Fiscal a </a:t>
                      </a:r>
                      <a:r>
                        <a:rPr lang="es-CO" sz="2000" dirty="0" smtClean="0">
                          <a:effectLst/>
                        </a:rPr>
                        <a:t>partir de  </a:t>
                      </a:r>
                      <a:r>
                        <a:rPr lang="es-CO" sz="2000" dirty="0">
                          <a:effectLst/>
                        </a:rPr>
                        <a:t>2012</a:t>
                      </a:r>
                      <a:endParaRPr lang="es-ES_tradnl" sz="28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2000" dirty="0">
                          <a:effectLst/>
                        </a:rPr>
                        <a:t>Medición Fiscal  a partir 2015</a:t>
                      </a:r>
                      <a:endParaRPr lang="es-ES_tradnl" sz="28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  <a:tr h="436729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2,0%</a:t>
                      </a:r>
                      <a:endParaRPr lang="es-ES_tradnl" sz="2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2000" b="1" dirty="0">
                          <a:effectLst/>
                        </a:rPr>
                        <a:t>1,0%</a:t>
                      </a:r>
                      <a:endParaRPr lang="es-ES_tradnl" sz="2400" b="1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267744" y="5009078"/>
            <a:ext cx="4674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dirty="0" smtClean="0"/>
              <a:t>Limites de incertidumbre en la medición de gas: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471266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OCEANI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17618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t2.gstatic.com/images?q=tbn:ANd9GcQpQy7PUiUtDGfYzNYOrQsIQoBAggJzwwc2gbftcJLBUGJ5yMO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0"/>
            <a:ext cx="1821656" cy="182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MX" dirty="0" smtClean="0"/>
              <a:t>Australia</a:t>
            </a:r>
            <a:endParaRPr lang="es-CO" dirty="0"/>
          </a:p>
        </p:txBody>
      </p:sp>
      <p:grpSp>
        <p:nvGrpSpPr>
          <p:cNvPr id="6" name="5 Grupo"/>
          <p:cNvGrpSpPr/>
          <p:nvPr/>
        </p:nvGrpSpPr>
        <p:grpSpPr>
          <a:xfrm>
            <a:off x="3166683" y="1416114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7" name="6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Australia</a:t>
              </a:r>
              <a:endParaRPr lang="es-CO" sz="1700" b="1" kern="1200" dirty="0"/>
            </a:p>
          </p:txBody>
        </p:sp>
      </p:grpSp>
      <p:grpSp>
        <p:nvGrpSpPr>
          <p:cNvPr id="9" name="8 Grupo"/>
          <p:cNvGrpSpPr/>
          <p:nvPr/>
        </p:nvGrpSpPr>
        <p:grpSpPr>
          <a:xfrm>
            <a:off x="5883201" y="4907260"/>
            <a:ext cx="2990587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err="1" smtClean="0"/>
                <a:t>Australian</a:t>
              </a:r>
              <a:r>
                <a:rPr lang="pt-BR" sz="1600" dirty="0" smtClean="0"/>
                <a:t> Energy </a:t>
              </a:r>
              <a:r>
                <a:rPr lang="pt-BR" sz="1600" dirty="0" err="1" smtClean="0"/>
                <a:t>Regulator</a:t>
              </a:r>
              <a:r>
                <a:rPr lang="pt-BR" sz="1600" dirty="0" smtClean="0"/>
                <a:t> </a:t>
              </a:r>
            </a:p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smtClean="0"/>
                <a:t>AER</a:t>
              </a:r>
              <a:endParaRPr lang="es-CO" sz="1700" kern="1200" dirty="0"/>
            </a:p>
          </p:txBody>
        </p:sp>
      </p:grpSp>
      <p:grpSp>
        <p:nvGrpSpPr>
          <p:cNvPr id="16" name="6 Grupo"/>
          <p:cNvGrpSpPr/>
          <p:nvPr/>
        </p:nvGrpSpPr>
        <p:grpSpPr>
          <a:xfrm>
            <a:off x="5892238" y="5843364"/>
            <a:ext cx="2988839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17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8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dirty="0" err="1" smtClean="0"/>
                <a:t>Australian</a:t>
              </a:r>
              <a:r>
                <a:rPr lang="es-CO" sz="1600" dirty="0" smtClean="0"/>
                <a:t> Energy </a:t>
              </a:r>
            </a:p>
            <a:p>
              <a:pPr algn="ctr"/>
              <a:r>
                <a:rPr lang="es-CO" sz="1600" dirty="0" err="1" smtClean="0"/>
                <a:t>Market</a:t>
              </a:r>
              <a:r>
                <a:rPr lang="es-CO" sz="1600" dirty="0" smtClean="0"/>
                <a:t> </a:t>
              </a:r>
              <a:r>
                <a:rPr lang="es-CO" sz="1600" dirty="0" err="1" smtClean="0"/>
                <a:t>Operator</a:t>
              </a:r>
              <a:r>
                <a:rPr lang="es-CO" sz="1600" dirty="0" smtClean="0"/>
                <a:t> AEMO</a:t>
              </a:r>
              <a:endParaRPr lang="es-ES_tradnl" sz="1600" dirty="0"/>
            </a:p>
          </p:txBody>
        </p:sp>
      </p:grpSp>
      <p:grpSp>
        <p:nvGrpSpPr>
          <p:cNvPr id="25" name="24 Grupo"/>
          <p:cNvGrpSpPr/>
          <p:nvPr/>
        </p:nvGrpSpPr>
        <p:grpSpPr>
          <a:xfrm>
            <a:off x="5868144" y="3971156"/>
            <a:ext cx="2990587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26" name="2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7" name="26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1600" dirty="0" err="1" smtClean="0"/>
                <a:t>Australian</a:t>
              </a:r>
              <a:r>
                <a:rPr lang="pt-BR" sz="1600" dirty="0" smtClean="0"/>
                <a:t> Energy Market  </a:t>
              </a:r>
              <a:r>
                <a:rPr lang="pt-BR" sz="1600" dirty="0" err="1" smtClean="0"/>
                <a:t>Comission</a:t>
              </a:r>
              <a:r>
                <a:rPr lang="pt-BR" sz="1600" dirty="0" smtClean="0"/>
                <a:t> AEMC</a:t>
              </a:r>
              <a:endParaRPr lang="es-CO" sz="1700" kern="1200" dirty="0"/>
            </a:p>
          </p:txBody>
        </p:sp>
      </p:grpSp>
      <p:cxnSp>
        <p:nvCxnSpPr>
          <p:cNvPr id="30" name="29 Conector angular"/>
          <p:cNvCxnSpPr>
            <a:stCxn id="7" idx="3"/>
            <a:endCxn id="26" idx="1"/>
          </p:cNvCxnSpPr>
          <p:nvPr/>
        </p:nvCxnSpPr>
        <p:spPr>
          <a:xfrm>
            <a:off x="5436096" y="1829112"/>
            <a:ext cx="721460" cy="2555042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4" name="1023 Conector angular"/>
          <p:cNvCxnSpPr>
            <a:stCxn id="8" idx="3"/>
            <a:endCxn id="10" idx="1"/>
          </p:cNvCxnSpPr>
          <p:nvPr/>
        </p:nvCxnSpPr>
        <p:spPr>
          <a:xfrm>
            <a:off x="5436096" y="1829112"/>
            <a:ext cx="736517" cy="3491146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7" name="1026 Conector angular"/>
          <p:cNvCxnSpPr>
            <a:stCxn id="8" idx="3"/>
            <a:endCxn id="17" idx="1"/>
          </p:cNvCxnSpPr>
          <p:nvPr/>
        </p:nvCxnSpPr>
        <p:spPr>
          <a:xfrm>
            <a:off x="5436096" y="1829112"/>
            <a:ext cx="745385" cy="4427250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1030 CuadroTexto"/>
          <p:cNvSpPr txBox="1"/>
          <p:nvPr/>
        </p:nvSpPr>
        <p:spPr>
          <a:xfrm>
            <a:off x="6201069" y="1627219"/>
            <a:ext cx="23847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b="1" dirty="0" smtClean="0"/>
              <a:t>Gasoductos Regulados </a:t>
            </a:r>
          </a:p>
          <a:p>
            <a:pPr algn="ctr"/>
            <a:r>
              <a:rPr lang="es-ES" b="1" dirty="0" smtClean="0"/>
              <a:t>(Sistema de Victoria)</a:t>
            </a:r>
            <a:endParaRPr lang="es-CO" b="1" dirty="0"/>
          </a:p>
        </p:txBody>
      </p:sp>
      <p:grpSp>
        <p:nvGrpSpPr>
          <p:cNvPr id="41" name="6 Grupo"/>
          <p:cNvGrpSpPr/>
          <p:nvPr/>
        </p:nvGrpSpPr>
        <p:grpSpPr>
          <a:xfrm>
            <a:off x="5796135" y="2348880"/>
            <a:ext cx="2988839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42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3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b="1" dirty="0" smtClean="0"/>
                <a:t>Ley Nacional del Gas (2008) </a:t>
              </a:r>
            </a:p>
            <a:p>
              <a:pPr algn="ctr"/>
              <a:r>
                <a:rPr lang="es-CO" sz="1600" b="1" dirty="0" smtClean="0"/>
                <a:t>y sus Reglamentos (2009)</a:t>
              </a:r>
              <a:endParaRPr lang="es-ES_tradnl" sz="1600" b="1" dirty="0"/>
            </a:p>
          </p:txBody>
        </p:sp>
      </p:grpSp>
      <p:sp>
        <p:nvSpPr>
          <p:cNvPr id="44" name="43 CuadroTexto"/>
          <p:cNvSpPr txBox="1"/>
          <p:nvPr/>
        </p:nvSpPr>
        <p:spPr>
          <a:xfrm>
            <a:off x="6237510" y="3635732"/>
            <a:ext cx="2541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b="1" dirty="0" smtClean="0"/>
              <a:t>Organismos Reguladores</a:t>
            </a:r>
            <a:endParaRPr lang="es-CO" b="1" dirty="0"/>
          </a:p>
        </p:txBody>
      </p:sp>
      <p:grpSp>
        <p:nvGrpSpPr>
          <p:cNvPr id="45" name="6 Grupo"/>
          <p:cNvGrpSpPr/>
          <p:nvPr/>
        </p:nvGrpSpPr>
        <p:grpSpPr>
          <a:xfrm>
            <a:off x="-180528" y="2744563"/>
            <a:ext cx="2988839" cy="82599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46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47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b="1" dirty="0" smtClean="0"/>
                <a:t>	Ley de Prácticas Comerciales (1974)</a:t>
              </a:r>
              <a:endParaRPr lang="es-ES_tradnl" sz="1600" b="1" dirty="0"/>
            </a:p>
          </p:txBody>
        </p:sp>
      </p:grpSp>
      <p:grpSp>
        <p:nvGrpSpPr>
          <p:cNvPr id="48" name="6 Grupo"/>
          <p:cNvGrpSpPr/>
          <p:nvPr/>
        </p:nvGrpSpPr>
        <p:grpSpPr>
          <a:xfrm>
            <a:off x="-25991" y="4026017"/>
            <a:ext cx="3343796" cy="1224136"/>
            <a:chOff x="3347864" y="2169"/>
            <a:chExt cx="2232247" cy="825996"/>
          </a:xfrm>
          <a:scene3d>
            <a:camera prst="orthographicFront"/>
            <a:lightRig rig="flat" dir="t"/>
          </a:scene3d>
        </p:grpSpPr>
        <p:sp>
          <p:nvSpPr>
            <p:cNvPr id="49" name="7 Rectángulo"/>
            <p:cNvSpPr/>
            <p:nvPr/>
          </p:nvSpPr>
          <p:spPr>
            <a:xfrm>
              <a:off x="3467746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50" name="8 Rectángulo"/>
            <p:cNvSpPr/>
            <p:nvPr/>
          </p:nvSpPr>
          <p:spPr>
            <a:xfrm>
              <a:off x="3347864" y="2169"/>
              <a:ext cx="2232247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algn="ctr"/>
              <a:r>
                <a:rPr lang="es-CO" sz="1600" b="1" dirty="0" smtClean="0"/>
                <a:t>Los términos se acuerdan entre el transportador y </a:t>
              </a:r>
            </a:p>
            <a:p>
              <a:pPr algn="ctr"/>
              <a:r>
                <a:rPr lang="es-CO" sz="1600" b="1" dirty="0" smtClean="0"/>
                <a:t>el cliente, sin la intervención </a:t>
              </a:r>
            </a:p>
            <a:p>
              <a:pPr algn="ctr"/>
              <a:r>
                <a:rPr lang="es-CO" sz="1600" b="1" dirty="0" smtClean="0"/>
                <a:t>del Regulador</a:t>
              </a:r>
              <a:endParaRPr lang="es-ES_tradnl" sz="1600" b="1" dirty="0"/>
            </a:p>
          </p:txBody>
        </p:sp>
      </p:grpSp>
      <p:sp>
        <p:nvSpPr>
          <p:cNvPr id="51" name="50 CuadroTexto"/>
          <p:cNvSpPr txBox="1"/>
          <p:nvPr/>
        </p:nvSpPr>
        <p:spPr>
          <a:xfrm>
            <a:off x="251520" y="1772816"/>
            <a:ext cx="28391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b="1" dirty="0" smtClean="0"/>
              <a:t>Gasoductos NO Regulados </a:t>
            </a:r>
          </a:p>
          <a:p>
            <a:pPr algn="ctr"/>
            <a:r>
              <a:rPr lang="es-ES" b="1" dirty="0" smtClean="0"/>
              <a:t>(La mayoría de gasoductos)</a:t>
            </a:r>
            <a:endParaRPr lang="es-CO" b="1" dirty="0"/>
          </a:p>
        </p:txBody>
      </p:sp>
      <p:cxnSp>
        <p:nvCxnSpPr>
          <p:cNvPr id="1033" name="1032 Conector angular"/>
          <p:cNvCxnSpPr>
            <a:stCxn id="8" idx="1"/>
            <a:endCxn id="46" idx="3"/>
          </p:cNvCxnSpPr>
          <p:nvPr/>
        </p:nvCxnSpPr>
        <p:spPr>
          <a:xfrm rot="10800000" flipV="1">
            <a:off x="2808311" y="1829111"/>
            <a:ext cx="358372" cy="1328449"/>
          </a:xfrm>
          <a:prstGeom prst="bentConnector3">
            <a:avLst>
              <a:gd name="adj1" fmla="val 50000"/>
            </a:avLst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36" name="1035 Conector recto de flecha"/>
          <p:cNvCxnSpPr/>
          <p:nvPr/>
        </p:nvCxnSpPr>
        <p:spPr>
          <a:xfrm>
            <a:off x="1645907" y="3570559"/>
            <a:ext cx="0" cy="47217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65622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9" name="Picture 9"/>
          <p:cNvPicPr>
            <a:picLocks noChangeAspect="1" noChangeArrowheads="1"/>
          </p:cNvPicPr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903" y="4118320"/>
            <a:ext cx="1512984" cy="869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7" name="Picture 17"/>
          <p:cNvPicPr>
            <a:picLocks noChangeAspect="1" noChangeArrowheads="1"/>
          </p:cNvPicPr>
          <p:nvPr/>
        </p:nvPicPr>
        <p:blipFill>
          <a:blip r:embed="rId3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2122725"/>
            <a:ext cx="982662" cy="761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3" name="Picture 13"/>
          <p:cNvPicPr>
            <a:picLocks noChangeAspect="1" noChangeArrowheads="1"/>
          </p:cNvPicPr>
          <p:nvPr/>
        </p:nvPicPr>
        <p:blipFill>
          <a:blip r:embed="rId3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386" y="2983085"/>
            <a:ext cx="1771650" cy="885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6566" y="4085805"/>
            <a:ext cx="1373488" cy="7430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51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49768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52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59878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53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21473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54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76572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5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32928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6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61173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57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55763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8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43222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59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91787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60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22108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61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207027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62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61148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63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202899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4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28617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5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45444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066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514898"/>
            <a:ext cx="473075" cy="212725"/>
            <a:chOff x="4488" y="2394"/>
            <a:chExt cx="358" cy="124"/>
          </a:xfrm>
        </p:grpSpPr>
        <p:sp>
          <p:nvSpPr>
            <p:cNvPr id="2563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64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067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39082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8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37824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9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11643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0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50403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1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42587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72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42269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3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47667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4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47191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5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202899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6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33221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7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33551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8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20057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79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20521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80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92593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1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93069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2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59109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083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399260"/>
            <a:ext cx="65087" cy="55563"/>
            <a:chOff x="1654" y="3671"/>
            <a:chExt cx="49" cy="17"/>
          </a:xfrm>
        </p:grpSpPr>
        <p:sp>
          <p:nvSpPr>
            <p:cNvPr id="2561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62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084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19422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5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20057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6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20216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7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19263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8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18469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89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21327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0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21009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91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23549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92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23073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3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25931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4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30693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5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33233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6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36249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7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37519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8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44028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99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41647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0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308786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01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921173"/>
            <a:ext cx="131763" cy="195262"/>
            <a:chOff x="1199" y="2121"/>
            <a:chExt cx="97" cy="123"/>
          </a:xfrm>
        </p:grpSpPr>
        <p:sp>
          <p:nvSpPr>
            <p:cNvPr id="2551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2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3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4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5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6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7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8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59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60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02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34833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3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43882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4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34833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5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32134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06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842048"/>
            <a:ext cx="458787" cy="404812"/>
            <a:chOff x="5372" y="3323"/>
            <a:chExt cx="341" cy="253"/>
          </a:xfrm>
        </p:grpSpPr>
        <p:sp>
          <p:nvSpPr>
            <p:cNvPr id="2548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9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50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07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49902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8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40072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09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41024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0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48791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1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43234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2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32122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3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401972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4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403401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5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81017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6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78477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7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11656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8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10544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19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409116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20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409751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1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409116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2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407211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3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79906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24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470448"/>
            <a:ext cx="163512" cy="114300"/>
            <a:chOff x="5379" y="2466"/>
            <a:chExt cx="122" cy="71"/>
          </a:xfrm>
        </p:grpSpPr>
        <p:sp>
          <p:nvSpPr>
            <p:cNvPr id="2539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0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1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2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3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4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5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46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47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25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33233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6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47228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7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31036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8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208138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29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11472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0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34491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1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90688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2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84179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3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69098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4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81786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5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58608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6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36408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37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22597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138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413298"/>
            <a:ext cx="46037" cy="374650"/>
            <a:chOff x="3950" y="2430"/>
            <a:chExt cx="36" cy="234"/>
          </a:xfrm>
        </p:grpSpPr>
        <p:sp>
          <p:nvSpPr>
            <p:cNvPr id="2508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9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0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1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2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3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4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5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6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7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18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19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0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1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2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3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4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5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6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7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28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29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0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31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2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3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34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5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6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7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38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grpSp>
        <p:nvGrpSpPr>
          <p:cNvPr id="2139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913360"/>
            <a:ext cx="185738" cy="214313"/>
            <a:chOff x="5486" y="2743"/>
            <a:chExt cx="137" cy="132"/>
          </a:xfrm>
        </p:grpSpPr>
        <p:sp>
          <p:nvSpPr>
            <p:cNvPr id="2499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0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1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2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3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4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5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6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507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140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65142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1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79112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2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11789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3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408481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44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51489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349798"/>
            <a:ext cx="323850" cy="401637"/>
            <a:chOff x="1486" y="2412"/>
            <a:chExt cx="244" cy="256"/>
          </a:xfrm>
          <a:solidFill>
            <a:srgbClr val="FFC000"/>
          </a:solidFill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146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88967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7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502302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48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502143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49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502143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0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49121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1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41818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2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39437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3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27213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4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23879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55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22292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6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21022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57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14354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8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408639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9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408004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0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406099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1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408004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62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406417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3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505318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4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27213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5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19434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6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10703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7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11021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8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57376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69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408004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0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74654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171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38643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72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59109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73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14977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4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50403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5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48339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6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46276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7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45641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8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44688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79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43418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0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41513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1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10557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2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20082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3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22304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4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28496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5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29766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6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33099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7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36433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8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37862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89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40719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0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47704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1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41831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2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18469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3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304658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4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14977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95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21009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6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21009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7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32122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8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28312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99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31328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0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42599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1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47997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2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73409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3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35113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4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58132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5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42269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06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26236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07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208138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08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14488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09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69892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0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75131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1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200518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4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91641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5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97673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6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58303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7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71797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8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58303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7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89418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8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70197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19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96549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0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62894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21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94327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2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10519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3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63383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4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42599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5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59427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6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69428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7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69428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8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409909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29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33881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0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14037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1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83874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2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79906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3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49889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4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156123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5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93069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36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58303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7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54334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8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59256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39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86084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40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37043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1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45298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2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50378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3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42282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4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33868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5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41647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6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37837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7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58328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8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68012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49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39412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0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80846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1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86402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2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93546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3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305134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4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30217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5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53858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6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83557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7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81969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58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45298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259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164060"/>
            <a:ext cx="233362" cy="439738"/>
            <a:chOff x="5062" y="2295"/>
            <a:chExt cx="177" cy="279"/>
          </a:xfrm>
        </p:grpSpPr>
        <p:sp>
          <p:nvSpPr>
            <p:cNvPr id="9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0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1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2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2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3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4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85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6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7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8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19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0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491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2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493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4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5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6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7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98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260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98321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1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92288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2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80223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3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77207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4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66888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5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80382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6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98956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7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80858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8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80382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69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85144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0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405464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1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409274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2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402448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3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401019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4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401972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5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402448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6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401654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7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83081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8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80382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79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78794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0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82446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1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82446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2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66888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3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403242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4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98956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5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57204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6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621260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7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402766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8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69428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89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83874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0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76254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1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70063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2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94193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3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79906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4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63066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295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203534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6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24013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7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89564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8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24331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99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28153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0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23537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1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11789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2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46079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3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47508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4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40364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5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41952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6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30681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7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41476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08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303864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09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37837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0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36567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1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27677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2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79588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13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80382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4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79112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15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726035"/>
            <a:ext cx="417513" cy="201613"/>
            <a:chOff x="912" y="2626"/>
            <a:chExt cx="311" cy="127"/>
          </a:xfrm>
        </p:grpSpPr>
        <p:sp>
          <p:nvSpPr>
            <p:cNvPr id="20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1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2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316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44358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17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47057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18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962573"/>
            <a:ext cx="168275" cy="103187"/>
            <a:chOff x="3481" y="2773"/>
            <a:chExt cx="125" cy="65"/>
          </a:xfrm>
        </p:grpSpPr>
        <p:sp>
          <p:nvSpPr>
            <p:cNvPr id="23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4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5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6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7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8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29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30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31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048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049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319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95463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0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92764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1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47057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322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303864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323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240260"/>
            <a:ext cx="80962" cy="82550"/>
            <a:chOff x="2352" y="2343"/>
            <a:chExt cx="65" cy="53"/>
          </a:xfrm>
        </p:grpSpPr>
        <p:sp>
          <p:nvSpPr>
            <p:cNvPr id="2050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14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324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2329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4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5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300335"/>
            <a:ext cx="1897063" cy="1133475"/>
            <a:chOff x="527" y="1110"/>
            <a:chExt cx="1410" cy="709"/>
          </a:xfrm>
          <a:solidFill>
            <a:srgbClr val="FFC000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325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64507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6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79588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7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303229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8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41476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475335"/>
            <a:ext cx="384175" cy="1031875"/>
            <a:chOff x="1589" y="3126"/>
            <a:chExt cx="290" cy="657"/>
          </a:xfrm>
          <a:solidFill>
            <a:srgbClr val="FFC000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33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42746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200042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33221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76889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36713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29423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36249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12119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3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384723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3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65301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29569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15441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200994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201471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96073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76559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40047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15123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4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38618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4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44651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63859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5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37043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63383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42917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62443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71003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81322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94803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5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66876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5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68012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99566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6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18139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6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406576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63701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25784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403401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30706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23708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79906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6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31316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31474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66876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68304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44492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33526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31779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32573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51147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37018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32891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44479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32891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35431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36859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49401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51147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52258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49559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43686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8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44479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49242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48924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48766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41622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48766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45114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202106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54322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89564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9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200836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202423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15123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17981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26236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29728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29728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88453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202423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61624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42892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74007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203693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grpSp>
        <p:nvGrpSpPr>
          <p:cNvPr id="241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992485"/>
            <a:ext cx="671513" cy="384175"/>
            <a:chOff x="4115" y="1551"/>
            <a:chExt cx="504" cy="244"/>
          </a:xfrm>
        </p:grpSpPr>
        <p:sp>
          <p:nvSpPr>
            <p:cNvPr id="546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  <p:sp>
          <p:nvSpPr>
            <p:cNvPr id="547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413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74178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4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28617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5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49889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6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84497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7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86084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8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85449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19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58303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0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96403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grpSp>
        <p:nvGrpSpPr>
          <p:cNvPr id="2421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432223"/>
            <a:ext cx="482600" cy="201612"/>
            <a:chOff x="3289" y="1830"/>
            <a:chExt cx="363" cy="128"/>
          </a:xfrm>
        </p:grpSpPr>
        <p:sp>
          <p:nvSpPr>
            <p:cNvPr id="548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49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0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1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  <p:sp>
          <p:nvSpPr>
            <p:cNvPr id="552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CO"/>
            </a:p>
          </p:txBody>
        </p:sp>
      </p:grpSp>
      <p:sp>
        <p:nvSpPr>
          <p:cNvPr id="2422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58474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3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302118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4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70698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5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965623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6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301959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427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63701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8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56703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29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55116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30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53369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31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54163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3" name="2 CuadroTexto"/>
          <p:cNvSpPr txBox="1"/>
          <p:nvPr/>
        </p:nvSpPr>
        <p:spPr>
          <a:xfrm>
            <a:off x="2043112" y="3392766"/>
            <a:ext cx="10112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Venezuela</a:t>
            </a:r>
          </a:p>
        </p:txBody>
      </p:sp>
      <p:sp>
        <p:nvSpPr>
          <p:cNvPr id="553" name="552 CuadroTexto"/>
          <p:cNvSpPr txBox="1"/>
          <p:nvPr/>
        </p:nvSpPr>
        <p:spPr>
          <a:xfrm>
            <a:off x="2328863" y="4037185"/>
            <a:ext cx="8985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Brasil</a:t>
            </a:r>
          </a:p>
        </p:txBody>
      </p:sp>
      <p:sp>
        <p:nvSpPr>
          <p:cNvPr id="554" name="553 CuadroTexto"/>
          <p:cNvSpPr txBox="1"/>
          <p:nvPr/>
        </p:nvSpPr>
        <p:spPr>
          <a:xfrm>
            <a:off x="2277150" y="4888086"/>
            <a:ext cx="900112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rgentina</a:t>
            </a:r>
          </a:p>
        </p:txBody>
      </p:sp>
      <p:sp>
        <p:nvSpPr>
          <p:cNvPr id="555" name="554 CuadroTexto"/>
          <p:cNvSpPr txBox="1"/>
          <p:nvPr/>
        </p:nvSpPr>
        <p:spPr>
          <a:xfrm>
            <a:off x="720725" y="3038648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México</a:t>
            </a:r>
          </a:p>
        </p:txBody>
      </p:sp>
      <p:sp>
        <p:nvSpPr>
          <p:cNvPr id="556" name="555 CuadroTexto"/>
          <p:cNvSpPr txBox="1"/>
          <p:nvPr/>
        </p:nvSpPr>
        <p:spPr>
          <a:xfrm>
            <a:off x="1193800" y="2370310"/>
            <a:ext cx="8985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E.E.U.U</a:t>
            </a:r>
          </a:p>
        </p:txBody>
      </p:sp>
      <p:sp>
        <p:nvSpPr>
          <p:cNvPr id="557" name="556 CuadroTexto"/>
          <p:cNvSpPr txBox="1"/>
          <p:nvPr/>
        </p:nvSpPr>
        <p:spPr>
          <a:xfrm>
            <a:off x="1298575" y="1819448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Canadá</a:t>
            </a:r>
          </a:p>
        </p:txBody>
      </p:sp>
      <p:sp>
        <p:nvSpPr>
          <p:cNvPr id="558" name="557 CuadroTexto"/>
          <p:cNvSpPr txBox="1"/>
          <p:nvPr/>
        </p:nvSpPr>
        <p:spPr>
          <a:xfrm>
            <a:off x="5499100" y="173531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Rusia</a:t>
            </a:r>
          </a:p>
        </p:txBody>
      </p:sp>
      <p:sp>
        <p:nvSpPr>
          <p:cNvPr id="559" name="558 CuadroTexto"/>
          <p:cNvSpPr txBox="1"/>
          <p:nvPr/>
        </p:nvSpPr>
        <p:spPr>
          <a:xfrm>
            <a:off x="6858000" y="2732189"/>
            <a:ext cx="11938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Corea </a:t>
            </a:r>
            <a:r>
              <a:rPr lang="es-CO" sz="1200" b="1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del Sur</a:t>
            </a:r>
            <a:endParaRPr lang="es-CO" sz="1200" b="1" dirty="0">
              <a:solidFill>
                <a:schemeClr val="accent4">
                  <a:lumMod val="95000"/>
                  <a:lumOff val="5000"/>
                </a:schemeClr>
              </a:solidFill>
              <a:latin typeface="Agency FB" pitchFamily="34" charset="0"/>
            </a:endParaRPr>
          </a:p>
        </p:txBody>
      </p:sp>
      <p:sp>
        <p:nvSpPr>
          <p:cNvPr id="560" name="559 CuadroTexto"/>
          <p:cNvSpPr txBox="1"/>
          <p:nvPr/>
        </p:nvSpPr>
        <p:spPr>
          <a:xfrm>
            <a:off x="6792913" y="4457873"/>
            <a:ext cx="90011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ustralia</a:t>
            </a:r>
          </a:p>
        </p:txBody>
      </p:sp>
      <p:sp>
        <p:nvSpPr>
          <p:cNvPr id="561" name="560 CuadroTexto"/>
          <p:cNvSpPr txBox="1"/>
          <p:nvPr/>
        </p:nvSpPr>
        <p:spPr>
          <a:xfrm>
            <a:off x="4211638" y="4838873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Sudáfrica</a:t>
            </a:r>
          </a:p>
        </p:txBody>
      </p:sp>
      <p:sp>
        <p:nvSpPr>
          <p:cNvPr id="562" name="561 CuadroTexto"/>
          <p:cNvSpPr txBox="1"/>
          <p:nvPr/>
        </p:nvSpPr>
        <p:spPr>
          <a:xfrm>
            <a:off x="3168650" y="2463973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España</a:t>
            </a:r>
          </a:p>
        </p:txBody>
      </p:sp>
      <p:sp>
        <p:nvSpPr>
          <p:cNvPr id="563" name="562 CuadroTexto"/>
          <p:cNvSpPr txBox="1"/>
          <p:nvPr/>
        </p:nvSpPr>
        <p:spPr>
          <a:xfrm>
            <a:off x="3924300" y="253541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Italia</a:t>
            </a:r>
          </a:p>
        </p:txBody>
      </p:sp>
      <p:sp>
        <p:nvSpPr>
          <p:cNvPr id="566" name="565 CuadroTexto"/>
          <p:cNvSpPr txBox="1"/>
          <p:nvPr/>
        </p:nvSpPr>
        <p:spPr>
          <a:xfrm>
            <a:off x="3889499" y="1671959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Noruega</a:t>
            </a:r>
          </a:p>
        </p:txBody>
      </p:sp>
      <p:sp>
        <p:nvSpPr>
          <p:cNvPr id="567" name="566 CuadroTexto"/>
          <p:cNvSpPr txBox="1">
            <a:spLocks noChangeArrowheads="1"/>
          </p:cNvSpPr>
          <p:nvPr/>
        </p:nvSpPr>
        <p:spPr bwMode="auto">
          <a:xfrm>
            <a:off x="11906" y="241484"/>
            <a:ext cx="89614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CO" sz="2800" dirty="0" smtClean="0">
                <a:latin typeface="+mj-lt"/>
              </a:rPr>
              <a:t>Principales empresas transportadoras de gas</a:t>
            </a:r>
            <a:endParaRPr lang="es-CO" sz="2800" dirty="0">
              <a:latin typeface="+mj-lt"/>
            </a:endParaRPr>
          </a:p>
        </p:txBody>
      </p:sp>
      <p:sp>
        <p:nvSpPr>
          <p:cNvPr id="2" name="AutoShape 2" descr="data:image/jpeg;base64,/9j/4AAQSkZJRgABAQAAAQABAAD/2wCEAAkGBhISERQTExMQEhQQFRAWGBYVEhQZGhUUGhUYFxcWEhUXGyceGxkjJRIUIC8sJCcpLCwtFx4xNTAqNiYtLCkBCQoKDgwOGg8PGiokHyQqLCkpLCwtLjIpKjQuLC41LC0wNS81KjUvLCopNCwvLCwqKSkqLCwsLCwsLCosKiwsKf/AABEIAKUBMQMBIgACEQEDEQH/xAAcAAEAAwADAQEAAAAAAAAAAAAABQYHAwQIAQL/xABJEAABAwIBCAQKBgcIAwEAAAABAAIDBBESBQYHEyExQVEWInGBMlRhgpGSobHR0hRScnOTsyMzNDWissEXQkNTYmTh4yVjwhX/xAAbAQEAAgMBAQAAAAAAAAAAAAAAAQIDBAUGB//EADIRAAICAQICCAUEAgMAAAAAAAABAgMEERIhMQUTFBVBUWGRM1JxsfAyocHhNHIiI2L/2gAMAwEAAhEDEQA/ANxREQBERAEREAREQBERAFH5e/UO83+YKQUfl79Q7zf5gtTO/wAaz/V/YyVfrj9UVNERfLz0AREQBERAEREAREQBERAFL5tfrXfYPvCiFL5tfrXfYPvC6XRX+ZX9TXyPhSLKiIvpJwwiIgCIiAIiIAiIgCIiAIiIAiIgCIiAIiIAiIgCIiAKPy9+od5v8wUguGrphIwtdextu8hv/Ra+TW7KZwjzaa/YvB7ZJvzKSis3RyLm/wBYfBOjkXN/rD4LxXcGX6e51e2V+pWUVm6ORc3+sPgnRyLm/wBYfBO4Mv09x2yv1Kyis3RyLm/1h8E6ORc3+sPgncGX6e47ZX6lZRWbo5Fzf6w+CdHIub/WHwTuDL9Pcdsr9SsorN0ci5v9YfBOjkXN/rD4J3Bl+nuO2V+pWUVm6ORc3+sPgnRyLm/1h8E7gy/T3HbK/UrKl82v1rvsH3hd/o5Fzf6w+C7FDklkTi5uK5FtpHw8i3MHobJoyIWT00T8zFdlQnBxR3kRF7E5gREQBERAEREAREQBERAEREAREQBERAEREAREQBERAF8K+qs6Rz/46bth/OYhSyeyDl5LUsl0uvOGtPM+kr7rTzPpKttON3v/AOP3/o9HIqxo5yeYqGMm+KculN+R2N/ha30qzqp2K5ucFJrTUL4HBfVH5RyBTzi0sTHX42s4djm2I9KF3rpwJC6XWHZ45vOoqjAHOdG8YmEnbhvYtd5Qf6KIooXyyMjaTilexg28XED+qtocifSUoT2OHH6/0eiEXHTwBjGsbsaxrWjsAsPcuRVOwCUuhCgM4czYKpjuqIpbHDIwWN/9YHhDt7rIUm5JaxWpP3X0LzpUsfG9zHYg5jnNcLnYQbH3K56JHk1clyT+gdx/9jFbQ5lPSXWWKvbpr6msoiKp1giIgCIiAIiIAiIgCIiAIiIAiIgCIiAIiIAiIgCIiAKs6SP3dN2w/nMVmVZ0kfu6bth/OYpXMwZPwZ/R/YxJc1FSmWRkbd8jmMHa4gD3rhVs0ZZN1tc1xGyBrn+d4Lf5r+arnkqa+ssjDzZsNNAGMaxuxrGtaOwCw9yzfSzlJ2thhYXDA10jsJO9xwtvbkGO9K0xcZqGfWb6wVEesyKusr2J6HnyEzFwDdcXE7A0vJv5ANt1vOQmSimhExJlEbMdzc4rbbniea7rXA7iD2FdTK75hC807WPlA6rXkgE93HluHlCN6mDGxez6y3NmcaXa1rpoYhYmJj3O8mMtsD6l+8KO0ZZN1tc1xGyBrn+d4Df5ifNVZrqiSSR75S50jnEuLt+LjccLbrcLWWoaJsm4KaSYjbM+w+yzZ73P9Cs+COVQ+05e/T19i9LCM58tPmq53te8NMjg2ziBhb1W2seTQe9bsRfvUF0FoPFov4viqpnWzMed8VGD0MqzSrKk1kAifKSZGXGJxBZcY8Qv4Nr3W5roZNyFT099TFHGTvLW7SORdvsqbnzpADA+mp8YkN2vkLS3ADvDA4A4jz3Dhfg5mOqKwqm7Ja/ngUHOWobJWVD22LXSykEcRiO3v3qz6I/2uT7h35jFRledEf7XJ9w78xiu+RxcSW7JjLzZrSIixnrAiIgCIiAIiIAiIgCIiAIiIAiIgCIiAIiIAiIgCIiAKs6SP3dN2w/nMVmVZ0kfu6bth/OYpXMwZPwZ/R/YxJatolybhp5JiNsz8I+wwW97nehZSvQGbuTfo9LDFxYxoP2ztd7SVaRw+i691rn5L7nzOPKX0elmlvYsY7D9s9VntIXn+w8nsXo+WFrhZzWuB4OAI9BXB/8AlQf5MP4bPgqp6HSzMOWQ01LTQzTRLTS/SJHtuIQwh31XPJGEDhiG0+Qdq1VflkYAsAABuAFgOwBV3OvPaGkYQHNknIIbGDex5yW3Aek+0OZlqhHEq0lLkZXnhb6fU4bW1r93Pj33v3raM3sm/R6WGLjGxoP2rXd7SVjWadEamviDruvJrHk8Q3ruv2kW71ut1LNPo2O5zt82UvSbnDJTxRMhe6N8r3HE3fgaNo7y9voWfxZ817SCKmQ24Owkd4IXf0mZR1tc5o3QNZH3+E72ut3KqBSkc/MyZu6W2TSXA9DZKqzLBFIbAyxxvNt13NBNvSs80wU7Q+neB1nNmaTzDSwtB7MbvSrtmg69DTfcxfyqpaYG/o6Y/wCuUfwt+CquZ18z/litvyT+xmSvOiP9rk+4d+YxUZXnRH+1yfcO/MYrvkcLC+PH6mtIiLGeuCIiAIiIAiIgCIiAIiIAiIgCIiAIiIAiIgCIiAIiIAqzpI/d03bD+cxWZVnSR+7pu2H85ilczBk/Bn9H9jE2usbjYQpDpHV+M1P48nzKORXPHqUo8mSPSOr8Zqfx5PmTpHV+M1P40nzKORC3WT837ndmy1UPFnTzuHIyvPvK6SIhVyb5s56Stkidije+N1iMTHFptyuDe2wLudJqzxqq/Hk+ZRiISpyjwTZ+5ZnOcXOJc5xJJJJJJ3kk7yvwiIUJWnzpq42tYyoma1gADQ7YANwC4MoZbnnAE0skgaSRiN7E77Loohkds2tG3oFedEf7XJ9w78xioyvOiP8Aa5PuHfmMR8jPhfHj9TWkRFjPXBERAEREAREQBERAEREAREQBERAEREAREQBERAEREAVZ0kfu6bth/OYrMoDPmgkmoZY4ml73GKzRa5tIwnebbgVKMOQm6pJeTMLRT3QSv8Wk9aP5k6CZQ8Wk9aP5lfU8n2e35X7MgUU90Eyh4tJ60fzJ0Eyh4tJ60fzJqOz2/K/ZkCinugmUPFpPWj+ZOgmUPFpPWj+ZNR2e35X7MgUU90Eyh4tJ60fzJ0Eyh4tJ60fzJqOz2/K/ZkCinugmUPFpPWj+ZOgmUPFpPWj+ZNR2e35X7MgUU90Eyh4tJ60fzJ0Eyh4tJ60fzJqOz2/K/ZkCrzoj/a5PuHfmMUJ0Eyh4tJ60fzK26Ns26mnqZHzQuja6ItBJbtONhtsJ5FQ2bOHTZG+LcXz8jSERFQ9SEREAREQBERAEREAREQBERAEREAREQBERAEREAREQBERAEREAREQBERAEREAREQBERAEREAREQBERAEREAREQBERAEREAREQBFh2cmdM8lVM6OeZrMbg0NkeBhb1QQAeOG/eo3pDVeM1P40nxVtpyJdKwjJraz0Gi8+dIKrxip/Gk+K1fMaZ8eTtfPI9+LWykvcXEMGwAE8LMv5yhrQz4+cr5bVHThqWxF5/mzlqnOc76ROMRc6wleALm9gAdg2rlkyllBgxOkrmgcS6YAdpOxTtNfvWPhBm9osNyXn5WwvDtc+VtxdkhxBw4i52juK3FrrgHnz/qoa0N3GyoZCe3wPqKBzyzkFHTl4trH3bGDxd9Yjk3ee4cVjZziqvGan8Z/wAUS1MeTnQolta1Z6CRV7MGqdJQQue5z3fpQXOJJuJHgXJ27rKar6sRRPkd4MbHvPY0En3KDbhNSgp+a1OdF5+kzkq3Ek1FQC4k2ErwBc32C+5axo6y4aijAe4ukhcWOJNyRva4k+QgeaVLWhp4+fC+exLQtKLFM78553Vs2rmmYxjyxobI9o6nVJsDbaQT3rR9H8cn0Fj5Xve6Uufd7i4hpNmgEndZoPemhenMVtjriuXiWRFk+d2kiV8joqV2riaSNY3wpLby0/3W8rbeN+CrVXkyt1evkZUlhAOsfjOw7iSTcDbx2bVOhgs6Sim1CLlpz8jfUWL5lZ3zw1EcbpHvikexhY5xdbEcIcy+0WJG7etSzqyn9Ho55QbOawhv23dVvtcFGhsUZcLq3PlpzJZF5+Zl2rJAFRVEnYAJZCSfIAdq5Jcs10ZGKasZfdifK2/Zcqdpp96x57Gb6iy7MHPiodUMp53mVktw1zvCa4NJHW3kG1tvMKwaTstOgpWtje5j5pALtJBDW9Z1iPNHeo0NyOZCVLtXJFxRYBDlmtebMmq3nfZskpNudgfKFzfS8o/Wr/TOp2moulE+UGbyipOjKGoMUstQ6clzmtaJXP2BouSA/mXW81ULL+dNRJUzOZPM1hkdhDZHgBoOFtgDsuAD3qNDPZnKuuNji+Pgbmi8+dIarxmp/Gk+KdIKrxip/Gk+Knaa3e0PlZ6DRVXM+d8OTBPO97yWyzEvcXHDtwgEnk0elZQ/OSrJJ+kVALiTsleBcm+wAqNDZuzo1Ri2v1LXQ9AosEkylXsGJ0lc0Di50wA7yu3kfPythkaTM+VtxiZIcVxxAJ2g9hU7TCulIa6Si0bgi/D5Q1pc4hoaCSSbAAbSSeCy3OrSdI9xjpDq4xcay3Xf5W38Ee3s3KEtTevyYUR1maqi8+zw1cjNc8VT2f5jhI5vrnZZd7N7PSppXtIe+SMEYo3OJBbxw38E8re1TtNBdKR3aSi0jdEVd6fUX+aEUaHQ7RV8y9zu5yVraelmls0FjHYdn987G+0hYNTU7pHtY3a6RzWjtcQB71qOlvKWGnihG+Z+I/ZYPi5voVR0b5N1tewkXbCHSHtGxvtcD3Ky5HHzv+3IjUvzX+jY6ShZHGxjWi0bWtGzgBYe5V3STlHVUD2jYZi2Idh2u/ha4d6tSyvS7lHFNDCDsjYXn7TzYX7mfxKq5nSzJqqiWn0KRQSsbLG6QFzGvY5wFrloIJAvs22sr7l7SoyWCSKKF4MrXMLpC2zQ4WJAF7mxPJROj/NGOtMplx4IwwDC6xLnXO+3AN9q6mfWbkVFOyOJz3B8eMh5BLesRvAGzq+xW8TiV9fTQ5x02v3ObMnMySqlZI9pbTscHFx/v2PgM533E7rX4rZpZQ1pc4hrWgkk7gALknyLNtDzX4qg3OrAiFuGMl20eWw9oXNpSzosPocZ2us6UjgN7Wd+wnyW5qHxZ0MWcMfF63z/AHZUM6svPrqrE0OLbhkTONr2Gz6zjt9A4LjzqyGKSVkO9whic885HFxdbyDYB2LpZIyq6mmbM1sbnMuWh4JANrXsCNouuTL2XpKyXWyBgdha3qAgWF7bCTt6xVjjynGcZSl+ps1LRZIDQAfVllB7bh3ucF+tJ+UtXQlgO2dzWd3hO9jbecunoimvSyt+rMT6WM+CgdLWUsdRHCDshZiP2nnj3Nb6VXxO1K3bgp+a0KTFTucHEAkRtxO8jcTW39L2qxZiZyfRJZcR6skUn4jGl7P/AKHnKb0Y5BbNDVueOrM0QA9xc4j1mehUOrpXRyPjcLOjc5p7QbH3K3M5ChOhQuXjr+ewpoHSyNYNrpXNaPtONveVv09ARSuhi2EQujZ5Dgwt2+hZJo2ybra9hI6sAdIe0dVvtcD3LQM8s9TQOiaIRLrQ83MmG2EgWHVN/CVWdHo/bXTK2fJ8DGZ6dzHFj2lrmGxaRYg8iFacn6SKljNXK2KpjthLZG7S3dYuGw94KnqTPWhrnllbTwxDD1ZHOLtt/BxhoLee+2xVPO+noWSt+hPc9pDsYuS1pvsDHO2njz4bVJpOLpTspsWn7+xouaOVKCsvgpYIpY7OLTFHcbdjmODdoBtyINvIo/S7lHDDDAN8jy8/ZYLD2vHqqN0R5LcZZaixDGs1YPNziHH0Bo9YKH0k5S1te8DdAGxjtHWd7XEdyjTibtl8ux7pLRy4EdmnlCGCqjmmxFkWJwDWgkutZuwkbr37lYc+s/IquFsMLHgYw5zngDcDYNAJ57/iuvmno9NZAZjNqhjc0DV4rgWub4hxJHcrNQ6I6dpBlllltwADAe21z6Cp4GCinJdOyCW2XiV3RbkN0lVryCI6cO285HNIDR2BxJ5bOaaVspaysEQOynYB57+sfZq/QtWpaSOCMMY1scbAbACwA3k+8rAMr15nnllP+K97uwE7B3Cw7kXFmTLrWNjqpc29X+ex3c2s5n0T3vjZG9z2ht34tgvc2sRvsPQrfkTSXVVFRFDqqf8ASva0kCTY3e4jrcACe5dPN6tyOymjbUNa+axLyYZTtJJtcCxtcDuU/kTK2RxPGKdgbM44WEQyg3cLbyLDeUYxoziopWpLy8S8KGzqrW09HNIAAWsIbsHhu6rfa4KZWf6XcpYYYoQf1ry8/ZYLD2vB81VR18qzq6pS9DMqOlMsjI2+FI5rB2uIA969DU1ExjGsa0WY1rRs4AWHuWPaNMm62uY4jqwNdIe3wW+11/NW0KZHP6Kr0g5vxf2KjpOyjqqEsGwzuZH5vhO7rNt3rJMlzsZNG+QFzGPY5zRa5AN7C542Vy0t5SxVEcIOyFhcftPPwa30rqaP8z463Wumx4I8DW4XWu43J224DD6VK4I1MrdflbIeH8ElnFpRZNTyQxQvaZWuYXPLbAHYbAXud/KyisxszJKmVksjS2nY4OJP+IQbhrBxFxtO61+K6efOb0VHUCOJz3B0bXkOIJaS5wtcAbOqrToea+1QbnV3iAHDH1iSPLbDfu5J4Ew33ZShfx08uR3NK+WjHCynabGcku+7bbZ3kj0HmqZmBkFtVVgPF44gZHA7nWIDWnyEkX8gKl9LsZ+lROscJhsD5Q91/wCZvpXT0cZyQ0k0muJa2ZrQHWJALSTZwAvY4j6E8BdJTzdLOS/Pua5WljYnl1sDWPxXGzCGm+zlZedOHctGz60hRSxOp6Ylwk2PksQMP1WA7TfieXO+yAzDzXdV1Ac5p1MJDnkjY4jaIxzJ2X8naEXAtnTWTbGuvj+fwdXoVV/5Z9vwX1bpZFG42e6q/NlJzzzOdWTh5nEYYxrQ3VYuJJN8Y335cF3Mxs0RR612s1rpMAvgw2AubeEd9/YF8RR4G1Givrus04lsWd5xZhOqamWY1GHG7Y3U3wgANAvjF93JfERGTJqjZFKSLPmbm8KOn1YdjLnueXYcNzsA2XO4NHFV/OzMU1VS6Uz4LhjQ3VYrAN54xxud3FfUTxKWUQlUoNcCYzQyAaOnkYJGvLnOeHasjbgAAcMRuOrzCqdTo0fI9z31eJ7yXOJg3uJuT+sRFJjsx65QjFrguXMvlDmzTRxsjEMTsDQ27o2Em3FxI2k71Vs6dHzJ58bJGQNwMGBsItcE7djhvvy4IihMzXU1yhta4EtmNm2aNkrNbrA9zXeBhsbEH+8b7h6FA5f0fOqKmWZ1TYyPJtqb2A2NF9ZtsAAiKTFOit1Rg1wRbs1MiClpmRB2IgvcXYcOIlxN7XPCw38FWc69HraipdM2bV6wNJbqsXWAwk3xjfYcOaIoMltMJVKDXBaEnmNmkKPWnWax0mAXwYbAXNvCO/F7ApPObNmKtiwSXa5pux43tP8AUHiERC9dMFV1enDyMWy3kf6PKY8eOxIvhw7jbdcq25r6No5xrJZnFoNsDWBpOwHa8k7NvAd6IrM4uLRXK+UWuCNNoqKOGNscbQxjBYNHD/n3rNarRo6SR73VV3SOc4/oOLiSf8TyoiqjrZNMLElJcEaDm/ksU9NFCDi1bRtta5PWcbcLkkqQRFBtRSUUkdHLdM6Snlja7AZGOZitfDi2E2uOZ4rN/wCyz/cj8D/sX1FKNPJohbJb1qfP7K/9yPwP+xTGaej8U9S2YzazAH2bqsPWIw3vjPAlfUU6mGvEpjNNR+5fVRs8czHVlRrDOGBrGsDdVitvJN8Y3l3JEUI3MiuNkNsuR38xs0xRiU6zWOkLBfBhsG32eEfrH2K1IiMvTCMIKMeRnGXtH7qiplmdU2Mjibam9gOqBfWC9gArXmfkEUlMIw7GS57nOw4bk7N1zuDWjfwREZr00Vxsc0uJW86cwzVVUkxqAzFgAbqr2AaBa+MX3E7uKsGZWQPokDo8YkvI52LBh3taLEYj9VERiuiEbXNLjxO1nJm3FWxauS4IN2vbbEx3McxzHH0LF84chfRZTHj1liRfDh3eS5X1FMTU6Uqhs36cS1Zq6N45262WVxaDbA1uG+wHa+52beAHatMoaGOFgjiY1jG7mtGz/koihm5iUwhBOK4s50RFBuH/2Q=="/>
          <p:cNvSpPr>
            <a:spLocks noChangeAspect="1" noChangeArrowheads="1"/>
          </p:cNvSpPr>
          <p:nvPr/>
        </p:nvSpPr>
        <p:spPr bwMode="auto">
          <a:xfrm>
            <a:off x="155575" y="-754063"/>
            <a:ext cx="2905125" cy="157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0240" name="AutoShape 5" descr="data:image/jpeg;base64,/9j/4AAQSkZJRgABAQAAAQABAAD/2wCEAAkGBhQSEBQUEBEUFBUUFhIXFhcWFxYVFhgSFRUcGhQSFxQaHCYeFxkjGRcYHy8gJScpLCwsFR4xNTAqNSYrLCkBCQoKDgwOGg8PGikfHyQsKi0pLCkpNCksLykpKSksKSkpKSksKSkpKSkpLCwzKSksLCwpKSwsLCksKSwpLCksKf/AABEIALcBEwMBIgACEQEDEQH/xAAcAAEAAgMBAQEAAAAAAAAAAAAABgcBBAUDAgj/xAA+EAABAwIEAgYIBQIFBQAAAAABAAIDBBEFBhIhBzETIkFRYZEUFzJxgaGx0UJSU1TBFXIjM2KC8SRjkrLw/8QAGgEBAAIDAQAAAAAAAAAAAAAAAAEFAgMEBv/EACkRAQABAwMCBQQDAAAAAAAAAAABAgMRBBIhMVEFIkFhcRMUFcEykfD/2gAMAwEAAhEDEQA/ALwREUAiIgIiICIiAiIgIiICIiAiIgIiICIiAiIgIiICIiAiIgIiICIiAiIgIiICIiAiIgIiFARaeKVvRQySH8DXHyCo+XiJWajplNrnv5XXTY01V6Jw572optdV+IqB9Ylb+t9funrDrf1vr910/jrndz/fUdl/IqB9Ydb+t9funrDrf1vr90/HXO59/R2X8ioH1h1v631+6esOt/W+v3T8dc7n39HZfyKgfWHW/rfVfTOIVaSAJr396ifD7keqY11Er8RaOCa/R4+lN36W6ie9byr5jE4d0TmMiIihIiIgIiICIiAiIgIiICIiAiIgIiICIiAiIgLBWVgoIbxRxToqFzQetIQ0e78XyKpBWFxhxPVPHCDswaj73bfwq9Xo/D7e23nuoNbXurwwiLCsMuFlFhEyMosLITIyF2Mo4b09bCy22q59wXGCsXg7hmqaWYjZjQ0e925+i5tVc2Wpl0aajfciFuRiwX0sBZXlXpY4EREBERAREQEREBERAREQEREBERAREQEREBERQC+ZDYL6XHzbiXQUcr72IY63vI2WVMZnDGqcRMqNzdiPT1sz+Y1EN/tC4119ncnx3818WXrrdMU0Q8xcqzVLJS6wQlls4ay6JZLICysWWQgK8eF+GdFQNcRvIS4+7sVJ0cGuRjB+JwHmV+ksLpBFCxg5Ma1vkFUeJ3MUxStPD6PNMy2gsoio1yIiICIiAiIgIiICIiAiIgIiICIiAiIgIiICXREGCq84wYlop44r/wCY659zf+VYZVL8SKx8+IhkTS8xAAAC/W/Fsu3R07rsezk1de238oX6M/8AI7yT0Z/5HeSlUuP4ixt3Q6QO10LdgO/ZedNmuukGqOMPHK7YWH+FdTdrxxEY+VP9On1Rn0Z/5HeSx6M78rvJSI50rA7SRHqvbT0TL37rW5qQ4ZiVW1sslbC1sTI3HeJrbuOzReyVX66esR/ZTapqV01hJsASe5fQpnfkd5dqk+Xn+j0c9WQ0yOcI49QBGo3ubHbsWzhuaan0mBk7WBsjmG3RMF2uNudkm/XPSEzZpjqhY/8Au+6z0ZvyPjspLhmGA4qWOA0xve891mDUfkvaCQdFXVNh1ndEwWFvavt/tWX1+cfDH6XGXxw2w3pq9lxcR3cfoPqr3CrTg3hlmSzEbkhrfcOfzCsxUevr33ZjsuNHRttxLKIi4nYIiICIiAiIgIiICIiAiIgIiICIiAiIgIiICIiDwq5wxjnHkASvzrU4w81MkzHWc57jq7gVdHEbEuhoJD2v6g95/wCFQwHYrnw63G2a6lTrrk7ophNDjEv9KkfM8udNIGMBA9lti4jzXWwaQ07aOEGx6Oad4sN7NdpB8guNj1IS+hoh+FrNX90hsb/ABelZjbW4uCT/AIbLQe5pbpJ8yVnNO7MR7y1RVMcz8NfC6gRw1NaQDKZCyO4vpLjfVbvAutPDqtk4eK2rkYD2CxBv3gnZdFlOyJ9RRVDtDJXa45OwOJ6p9xG3xXRwvCGQMAqYaZ0bbkyl77uHgLWJWUzimeMz+jHmz6ORiEkc5paOkcXMaTqcRbU42u75Fb+etDKmkkjPUDWAH+w7/VeGHPja+prY2aIow5kA73HkffYfNaOMSF+HUj+1r5W35/lSP5REcR+5TM4ic9ZdmtZ0EuIz2/C1jD4yNAPycuHi46KgpofxSapX+83a36BdvOFWyVlPFCbunex0lu8gN/hc7EoPSMUjgbu1hjYLdzQC753UUcRmf9hFXM8LUyNhvQUMTe0t1H3u3/lSBecEQa0AcgAB7gvUKlrq3VTUuLdO2mIERFgzEREBERAREQEREBERAREQEREBERAREQEREBCiFBVXGTFLuihB5Xe4eVvkSq/wjQKiIymzA9pd/aDurfzLw3ZWVBlfM9twBYWsAPguV6mIv3Enk37K5sam1Ra2Sqb+nu13N8InS4/GcSkqXnqgPMfiQ3qDzUYqJdT3OPNzifM3VqepiL9d/wAvss+peL9xJ5N+y306uxTOYaqtNemMIZR4/DNEIa5pOkWZK32mjuPYvT+nUDd31skjR+AWJI7ipd6mIv3Enk37LB4MRfryeTfstU37HpMs4097tCA49mHpw2OJvRwx7MYO3xPit/CqiCWi6CebonNlLwduRtt8lMBwYi/cSeTfsnqYi/cSeTfssp1NjZtifdjGnvbszCKYXS0cErZfS+kMdy1ve78PzXS4XURmr5JiNmanA+LydvIrsngzF+4f5N+ylGUcosoGOaxznl7rkm3day0XtTb2TtnmeG61Yr3eaOISGyyiKpWgiIgIiICIiAiIgIiICIiAiIgIiICIiAiIgIiIBXlJJYE77AnbwXqvkhBW9Zxvp4n6H01QCSQNm9Yg223UjwLPEdTTS1HRSRsiBJD7AkDnZQ/MrBUZko4QBanYZHADvtzUm4p13QYTUkba2Fndu4J1HFi46UhI1QzMYTbpCBp587hWLBUB7GvYbhwBB8DyX59oZJ6qnpMIkhbTh7WvMjh1nhpvcEd6uTHsWjwzDi9x2ijDW37XgWb87KTDUxDiXTRV7aIhzpHEAuFtLSRcA+NlK3y2aSewE/AC6/OdQ+JtLS1PTNdVSVjZZB2hhuNPkQrwzbioiw6efsERN/Bwt/Kgw0cp8R6fEJZI4Q4GLc3tuO2y38BzdHVz1EMbXA0zg1xNrEnuVPZOphhtRQTnqtq6eS/cSQ0i6m/BSAupJp3jrT1Eh+AtZSYhtY7xeggnfDFDLUOjPXMYBDe+91KqLHmSUnpJa5jNDnkO5hrQb/RVU6SfAa2SSWPpaSpkHX7WEntupzxHxcR4PPKzk6Nun3SW/gocORRccaR7mh0crGPOkSOA0E3t2bqdYhjEUMBmlkDYwL6jyt4KiKClqq2gpKCGicxjHNe+Z1raSbkje/apVxUiJdhuHhx0SOAd46NlA6I440+oXppxGTbpSBo9/fZWBDiDHwiVjtTC3UCO1veopxDpYIMGqGaGta2ItYNtnW6tlysBrHQZYD33uKZ+n4g2QfLuOlLc3gnDA4tMlm6djYqYYhmuOOi9LaHSM0tIDObtRHLzVFYRiM7qGHDjA2FtY6/TvF73dfaxv4clfuB4S2kpI4b6hEwAk94G59yCCt47U5cWikqS4c2gNuPfurCwzERNCyXSWh7Q6zuYBF7HxVacKYhPiGJVJAsJjG02/CCbW8lI+KObRQ0R0m0sv+HGO6/N/uH8oPfCOJNPU176OIO1s19bbSdHOykOLYm2ngklk9mNpce+wF1SmDinpMSwsQSMe5zSyUtvu99rkn4/JTzjNXmPCZQ09aQsYPHU6xHzRLQpOOdI8t1xTRscbB7gNPvuFYkFU17GvYQWuAcCOWki4Kr/ADDhUMWXtMzW2bAwi/PWdxb4la2B4nJT5X6Ukl7IXWPbYus35FEOljvF2ngmdFFFLUuZ7XRWs09oN13spZyhxCIvgJ6ps5p9pp7nLgcIsEZFhrJXAF813vcdyb77+a4nC8h2L4q6EWh6Ts5XudwgkeaeKUFDU+juilkfpD7MsbA35+S6eT87wYixzoLgsNnNdzCqOvzTLDjNfVQ0/TNhGi5tpa2xsT4bqe8J8v8ARwvrHva59YdfVuAG32bv4hBKM1ZpioKczTXsCAAObj3BemWMxMrqZlRECGvLgAeYLTYg2VY5nx6CvxYwzSsbT0bHkh3KSYtIHlq+S7nBCsDqOaNpuIp5QD2Wc4kEILIREQEREBERARCVWdfxlLJ5o4qCWZsDyx72EWuOeyDpYJlCZuNVFbNbS5miP3XH2WxxOyzNX0rIISAOlY59/wArSt/LOdYK6ndNFcaL62Hm0jsPkofR8ZpJgTDhs0jA4t1BzbbHdB1c1ZLlkqsPmprf9M4CT+wAbfVfWeMozYhVU7HkCkjOuQfmf+X3WsppSTl0bXObpJANj2eCg+OcVmsqDT0dO+qkb7WggNae4k7IPHNnCSmfSuFDTxxzAtLDbkQ4ePculmrLdRUYSylZbpCyJsndZoGr6LYyfnGSrfIyajkp3MAN3EEOv2C3vWlnTilFQVEcBjdK51tekgCO5Fr++6Dn574dyVOH0sNOQJafQ0HuaB1reQXdwHL81JhLaeEtFQ2IgE8ulPaurj+YoqSldUS+y0Xt2knkB4qK5f4kTVM0bTh8rIpfZkJba3eUHExDKuLYjogrnRRwNc1zi0G7rG9uZ7lJ8/ZUlqqOGmpyNLXx67/pst89lLa6rEUb5Hco2ucR3hov/CrGLjhdvSOw+YQ3P+ICC2wNr7BBZmH0ojiYwW6jWt8hb+FFeIuS31rIpKd4ZUQHVGTyPe1b9fniFmHOro/8SMNDgAQCdwCN+0EqPYLxTmqXxAYbM1khFpC5ttJ5OQc2pydieJOjjxJ8cUDCC5rL3fb4ndSnPmWZJ8MNLR2YSY2ju0NO4Xvguc21NdUUjIyPR7Bz7ggu32+Sk6CvM15AklgoG0xAfSPY4nwAFx53U4rGPdTva323RuH+4tt9VD4OKcRxY4f0RFnFokuNNw3Va3yXWdnNv9T9BEZJDNbn3FgOwEINPhnlSShpHMnI6R73vcR4kkfVc/FciPr8U6atDXUsbS2OM9rjbrHyXzjHFcCd8NFSvqjHfW5lg0Ec23PMrs5Nz5FXxSODDHJFtJG7mDv9kHAzFwrjEtNJh0LInRShzyO0Aj7Le4oZXqa2GnZTaeo/W/VyOkAgeYXFbxz2dIKCYwseWmQOFgW812sd4mdFBFNBSSVEUkZk1NIAaBe4N+6yJcWbIeI1+iPEJ2Mp2FpMcYI1BosB29ysCty7FJRupLWjMegAdgA2+gUMy3xZkq3M04fK2N1yZC5paA3mfkvCHjFJI5/QYbNK1j3t1Nc2xs4j+EQ0qLLGM08JooHxGEXDJSDra092/d4Ka5HyW3DqXo2nXI67pH/mef4XcoKkvhZI9mguaHFp307eyT4KB1/Flxnkjo6KSobCbPe0gC/aBdB95ZyFLHSVzKi3SVRksf8ASRZq28s4BV0mEGmGkzND2RnsDXE9Y79lypbhNcZoWSOYYy9oJYebb9hXOzjmqPD6Z08gLrWDWA2LidrBBGsr8JKWOnHpsLJp3FznucL9Ym+y2eHmTJMPnq9miGWTVG0dgF7D5rtZKzW3EKVs7WGO5ILSQSCDbfyUgsgIiICIiAgREGviVR0cMj/yse7yF1XXBeAei1VQ72Z55H3PItBcp3mPD3z0ssUbtLnsLQe64VZ4bwtxGOnbSjEBHAL3DGkGxN3C4Pag4uAVwijx2eLaIOIbbkSSbW+F11+FlNisUFM1scQpHkPLjbXodzPO9/gpDivDMf0o0VI/QXOaXvO+rvv8V9ZTytiNM+Js1Wx8MbQ3QGEbDlvdEpXmOodHSTvb7TIpC33hqq/hw2WHB5KihibLUySuLtRA7dwSewDdW9PCHtc1wu1wII8DzCq1nDSupHyjDqoCGUuJY8Xtq2NtxvuiHTyfxElmoqqprGNjFO4t22u4Dlft32VX1OO009FWVM0wNXPIHMZpN2sY7qs1e6ysH1WTegQ0hnbp6XpKg29vrX0Wv4qSYrw3o5KV8UVNCxzmaQ/QNQPYb96DUxHBf6rgsTA7S58cT2nmA8N2v5rl8Ns0VDKl2GVzB0sTSWOB5xt7+9e4yfiMNLSx0lU1roGua5pbs8baSd+y3zW5kzIksFU+srZhLO8aRYWDWnmBuUHR4nYl0GFVLuV2Fn/n1f5XIwGjjpsuhswGn0eQnV2l4Jb9QurxHyrJiFH0ETwy7mkki4s035KL+q+tqGsjra+8DAAY2NLbtbyB38EEIdM9mWYY7b1FRpY3/SXEj4EhWZkpuKRAMrWRMgjhIbote7QLA79y8s68OJKhlLHRvbEymsWgi/WHI9nYtzCcvYgGTCpq2ya2FrLNIs49vNEuRwYZ0hrqr9ed1j36SfurKnlDWlzuTQT8Aquy3w9xKjjbFDWsEevUW6Dfre1vqVjYtSOkppI2us58bmg22Di2wPmiFAU9IejOJcizERc/9oua3yUhpsV6SfGK+I3tE2NpHZcNvb4KY03DgjBXUD3gvdcufb8erUDby8kyLw49DoZqadwk6ckuIFvw2CJY4O4WyLC43jd0up73dpNzzPhdQrDMQDanG6mL/LY14uOReSbELtU/DnEoInUtNXAU5JsbHW1rjuA6668/C8R4W6ipn2fK5pkkcL6vzIKwwirq20VNQyNZBTV7zaW1y4PIBvY3CtLO0TcOwGSOI9VkYiae8P2P1X3mXh66eko4oZAx9KWlriO619vgtzPuUZK+ljga8NAcwvuOem38hBzsIZ6FlwX2Ip3n4yXI/wDZRfhbT4rHTw9FHF6NI4uc5wGuxNyefirBzfld9ThhpIXhhLI23t2Mt9lxcqZSxGmfC2SsY6CIAFoYbloHK90Qnzm3BHeCPNUzU+k5eq3SbS0VTJ1tus0uPLftVs49SSy00jIJOikc2zX2vpPeq8m4eV9Y6NuJVTXQxuDtLWkF1uVzc7oLPhku0OHIgHzF1TWZ820tVjLYqmUNpaS5OxIfNbnt3XHkpzUZerPSJ3x1VozEWQx2NmEiwcd7EheOVOGNPT04bVRRVEriXPkcwElxO9r8kHF4H4k17KxjDdrahxZb8jiSLD4q0VXVHw7mp5K00krYm1DWiINFtDgRc7HuBUzy/QyRU8bJpOkka0anntd2oOkiIgIiICIiAsaVlEGLIAsogxZLLKIMaUssogxZLLKIMWSyyiDFkAWUQFiyyiDFk0rKIMBqWWUQYslllEGLIAsogxZLLKIMaUssogxZZsiICIiAiIgIiICIiAiIgIiICIiAiIgIiICIiAiIgIiICIiAiIgIiICIiAiIgIiICIiAiIg//9k="/>
          <p:cNvSpPr>
            <a:spLocks noChangeAspect="1" noChangeArrowheads="1"/>
          </p:cNvSpPr>
          <p:nvPr/>
        </p:nvSpPr>
        <p:spPr bwMode="auto">
          <a:xfrm>
            <a:off x="155575" y="-830263"/>
            <a:ext cx="2619375" cy="174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sp>
        <p:nvSpPr>
          <p:cNvPr id="10241" name="AutoShape 7" descr="data:image/jpeg;base64,/9j/4AAQSkZJRgABAQAAAQABAAD/2wCEAAkGBhQREQ8PDhQUFRUSFxgVFRQWFBQWGhcYFxUVFBoVGRsXHCYfGRwjGh4YHy8sLyosMC44GSAxNTMqNSgrLSkBCQoKDQwOGQ8PGjEkHiQwLzQyLzI1MiwvNC0qNSwpKiwtKS0sMiwpNCkpLCw0LCkpLCwsLSw0KSwsNCwpLCwqKf/AABEIAEwAeAMBIgACEQEDEQH/xAAcAAEAAgMBAQEAAAAAAAAAAAAAAgYEBQcBAwj/xAA+EAABAwICBgcCCwkAAAAAAAABAAIDBBEFEgYHEyExQRQiUWFxgZEyghUXI0JSZHKSoqTjY5OUobHB0dPw/8QAGQEBAAMBAQAAAAAAAAAAAAAAAAIDBAEF/8QAIxEAAwACAgEEAwEAAAAAAAAAAAECAxESMRNBUWGBISIyBP/aAAwDAQACEQMRAD8A7iiIgCIiAIiIAiIgCIiAIiIAiIgCIiAKuab6Xtw2BszmbRz3hjWZst9xJN7HgB2KxrW4rgEFVk6VEyXJfLnF7Xte3oPRShyn+3RGt6/BzT4+Pqf5j9JPj4+p/mP0lQ9NDE6vqGUkbWRsfs2NYNxLOqT4l112fDtBKKnpI+lU8LnRRAyyOaCSWtzPJPjdejkjBjlNz2YorLbaT6M+l0wjFFDXVuWnErcwYXZjY+yBuBcSLHcOaqOI69IWkinp5JB9J72x38AA4/0XPa+umxeujjZuD3COCP5sUY4Cw4ANFz4eC6hDgGD4aG09WYXSloLnTDM5wNxcCxDRuNrKDw48f9Jtv0RJZLv+Xpe589Htc8FRKyGoidAXkNa/OHsudwDjYEXPcrbpLpVBQR7Wpda+5jGi73kcmj+/ALl2FaAYdNPGyDEdo4uuI2xi5DTmIvfsHFavXDNIcSeJAQ1rGCK/Attcke9e/gngxXkUz+B5ckw2zeV2vWS52FMwN5bSRzifJoAHqV9cL16HOBV07Qw8XRPNwO3K72vUKt6C6XUdIx8dZSCVz3E7XKx5DSAMuV/ADfwO+6sOj2geE4gXmlqKglvWdEcjHNBPYWXy8rq28eGNqoevchN5K1qvo6ZimONhijlY0ymVzGRMaQC90nCxduAt1vAFYjsbqgCTQvsOfSKf/K+QiEtfHG0fJ0EYNuW1lGVg92IO/eBUrXPpa9pZh0JIDm55iOJBNmx+G657d3esWPHzpSjVd8U6ZbsM0xmqQ91PRue1jiwvFRBlLha4ab9a3aFlO0hqGZTNRuYwuY0vM8By53tYDYG53kKrak8cElLJRkWdA7MD9JshJ9Q648wrTjh21VRUY4Nd0qX7MRAjB8ZSD7hTJCm3OhFOpVbLEiIs5cFp9LMY6JR1NTzjYcv2z1W/iIW4Vd010WOIwNptqYm5w9xDM+awNh7Qtv3+SnGuS5dEb3xeuzierfCOlYjTtdvbGds/nuZ1hfxdlXadYeb4Mrtne+yPDsuM34brC0G1eMw100glMrpA1oJYGZWgkke0b3Nvuq3PYCCHAEHcQd4IPEFaM+ZXkVLpFGHE5hp9s/O2rXGYaXEIpqk5WZXtz8mlwsCbcuXmrBrVp6J+atgqdtPK5jQxskbmtYG7zZouBYdvEqxYzqSp5Xl9NK+C5vkyiRo+zcggeZWJS6iIwflap7h2Miaw+rnOWl5sLtZNtMo8WRTw0VrV0TSQV+Llmfo7RFG03AL3ubm3jhZuX7y2kWs+CvligxSlgEJJvI4vcWbuI3XFzYLpWFaIU9PSOoWtLonZs4ebl2biSR/wsFTa7UZA5xMFRLGD81zWyW7gbtPqq/Nium7+mT8eSZSkpWnsGFsEfwU5xkzdexe6MNseb+d7cO9bDU3QkVM9a+7YaeJ+d/K5F7d9mgu9O0K0YdqOpmkGomllt80BsYPja5/mrbiOi7TROoaTJAx1huYXDLmBcCA5pOYbib812/8ARHDxy2/lnJw1y5ta+D3RCB3R9vILSVTzUPHMbS2Rvuxhg8lznXjgYbJT1rTvkvE8d7QXNd6XB8AuiCgr+VVT/wAG7/esDENFKmeSGWeemeYbmMOo3Foc613ZdvYncLX4LPivhk57L8k8o46NJqc0Vkp4paucFrqgNDGncRGLnMRyzEi3cB2q0aL/ACz6uuPCeTZxH9jDdjSO5z9o7zCjPhde9rmdLgGYFt20jgRcWuDt+K3WHULYYooI9zY2tY3waAAoZL5N0+2SiOKSXoZSIipLQolSXlkBFFKyWQEUUrLyyA8RSslkBFFKyWQEUUrJZARXoXtksgPUREAREQBERAEREAREQBERAEREAREQBERAf//Z"/>
          <p:cNvSpPr>
            <a:spLocks noChangeAspect="1" noChangeArrowheads="1"/>
          </p:cNvSpPr>
          <p:nvPr/>
        </p:nvSpPr>
        <p:spPr bwMode="auto">
          <a:xfrm>
            <a:off x="155575" y="-342900"/>
            <a:ext cx="1143000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CO"/>
          </a:p>
        </p:txBody>
      </p:sp>
      <p:pic>
        <p:nvPicPr>
          <p:cNvPr id="10248" name="Picture 8"/>
          <p:cNvPicPr>
            <a:picLocks noChangeAspect="1" noChangeArrowheads="1"/>
          </p:cNvPicPr>
          <p:nvPr/>
        </p:nvPicPr>
        <p:blipFill rotWithShape="1">
          <a:blip r:embed="rId3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68" b="33062"/>
          <a:stretch/>
        </p:blipFill>
        <p:spPr bwMode="auto">
          <a:xfrm>
            <a:off x="742275" y="5023023"/>
            <a:ext cx="1543050" cy="472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2" name="Picture 12"/>
          <p:cNvPicPr>
            <a:picLocks noChangeAspect="1" noChangeArrowheads="1"/>
          </p:cNvPicPr>
          <p:nvPr/>
        </p:nvPicPr>
        <p:blipFill rotWithShape="1">
          <a:blip r:embed="rId3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43" b="27143"/>
          <a:stretch/>
        </p:blipFill>
        <p:spPr bwMode="auto">
          <a:xfrm>
            <a:off x="2104231" y="3028304"/>
            <a:ext cx="1469232" cy="460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4" name="Picture 14"/>
          <p:cNvPicPr>
            <a:picLocks noChangeAspect="1" noChangeArrowheads="1"/>
          </p:cNvPicPr>
          <p:nvPr/>
        </p:nvPicPr>
        <p:blipFill rotWithShape="1">
          <a:blip r:embed="rId390">
            <a:clrChange>
              <a:clrFrom>
                <a:srgbClr val="FFFFFD"/>
              </a:clrFrom>
              <a:clrTo>
                <a:srgbClr val="FFFF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37" b="9924"/>
          <a:stretch/>
        </p:blipFill>
        <p:spPr bwMode="auto">
          <a:xfrm>
            <a:off x="27980" y="1128220"/>
            <a:ext cx="1663700" cy="4228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9" name="Picture 19"/>
          <p:cNvPicPr>
            <a:picLocks noChangeAspect="1" noChangeArrowheads="1"/>
          </p:cNvPicPr>
          <p:nvPr/>
        </p:nvPicPr>
        <p:blipFill>
          <a:blip r:embed="rId39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8446" y="455311"/>
            <a:ext cx="2053590" cy="1086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0" name="Picture 20"/>
          <p:cNvPicPr>
            <a:picLocks noChangeAspect="1" noChangeArrowheads="1"/>
          </p:cNvPicPr>
          <p:nvPr/>
        </p:nvPicPr>
        <p:blipFill>
          <a:blip r:embed="rId39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227" y="2329716"/>
            <a:ext cx="999264" cy="707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1" name="Picture 21"/>
          <p:cNvPicPr>
            <a:picLocks noChangeAspect="1" noChangeArrowheads="1"/>
          </p:cNvPicPr>
          <p:nvPr/>
        </p:nvPicPr>
        <p:blipFill rotWithShape="1">
          <a:blip r:embed="rId3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69" b="27819"/>
          <a:stretch/>
        </p:blipFill>
        <p:spPr bwMode="auto">
          <a:xfrm>
            <a:off x="2876515" y="1556792"/>
            <a:ext cx="1481083" cy="456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5" name="564 CuadroTexto"/>
          <p:cNvSpPr txBox="1"/>
          <p:nvPr/>
        </p:nvSpPr>
        <p:spPr>
          <a:xfrm>
            <a:off x="3594100" y="1838498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Holanda</a:t>
            </a:r>
          </a:p>
        </p:txBody>
      </p:sp>
      <p:pic>
        <p:nvPicPr>
          <p:cNvPr id="10262" name="Picture 22"/>
          <p:cNvPicPr>
            <a:picLocks noChangeAspect="1" noChangeArrowheads="1"/>
          </p:cNvPicPr>
          <p:nvPr/>
        </p:nvPicPr>
        <p:blipFill>
          <a:blip r:embed="rId39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0294" y="1995155"/>
            <a:ext cx="1304444" cy="3862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4" name="563 CuadroTexto"/>
          <p:cNvSpPr txBox="1"/>
          <p:nvPr/>
        </p:nvSpPr>
        <p:spPr>
          <a:xfrm>
            <a:off x="4143375" y="2106785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lemania</a:t>
            </a:r>
          </a:p>
        </p:txBody>
      </p:sp>
      <p:pic>
        <p:nvPicPr>
          <p:cNvPr id="10263" name="Picture 23"/>
          <p:cNvPicPr>
            <a:picLocks noChangeAspect="1" noChangeArrowheads="1"/>
          </p:cNvPicPr>
          <p:nvPr/>
        </p:nvPicPr>
        <p:blipFill>
          <a:blip r:embed="rId39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1876176"/>
            <a:ext cx="1446561" cy="1072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6" name="Picture 26"/>
          <p:cNvPicPr>
            <a:picLocks noChangeAspect="1" noChangeArrowheads="1"/>
          </p:cNvPicPr>
          <p:nvPr/>
        </p:nvPicPr>
        <p:blipFill>
          <a:blip r:embed="rId396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706" y="4051686"/>
            <a:ext cx="1431132" cy="1650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9" name="Picture 29"/>
          <p:cNvPicPr>
            <a:picLocks noChangeAspect="1" noChangeArrowheads="1"/>
          </p:cNvPicPr>
          <p:nvPr/>
        </p:nvPicPr>
        <p:blipFill>
          <a:blip r:embed="rId39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4462" y="3693077"/>
            <a:ext cx="2047875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0" name="Picture 30"/>
          <p:cNvPicPr>
            <a:picLocks noChangeAspect="1" noChangeArrowheads="1"/>
          </p:cNvPicPr>
          <p:nvPr/>
        </p:nvPicPr>
        <p:blipFill>
          <a:blip r:embed="rId398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25" y="2418296"/>
            <a:ext cx="1793875" cy="442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1" name="Picture 31"/>
          <p:cNvPicPr>
            <a:picLocks noChangeAspect="1" noChangeArrowheads="1"/>
          </p:cNvPicPr>
          <p:nvPr/>
        </p:nvPicPr>
        <p:blipFill>
          <a:blip r:embed="rId39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60" y="2031035"/>
            <a:ext cx="1104900" cy="119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3" name="Picture 33"/>
          <p:cNvPicPr>
            <a:picLocks noChangeAspect="1" noChangeArrowheads="1"/>
          </p:cNvPicPr>
          <p:nvPr/>
        </p:nvPicPr>
        <p:blipFill>
          <a:blip r:embed="rId400" cstate="print">
            <a:clrChange>
              <a:clrFrom>
                <a:srgbClr val="FFFDFF"/>
              </a:clrFrom>
              <a:clrTo>
                <a:srgbClr val="FFFD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70" y="1824707"/>
            <a:ext cx="1285970" cy="373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0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1176" y="1228051"/>
            <a:ext cx="1199824" cy="4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8" name="Picture 18"/>
          <p:cNvPicPr>
            <a:picLocks noChangeAspect="1" noChangeArrowheads="1"/>
          </p:cNvPicPr>
          <p:nvPr/>
        </p:nvPicPr>
        <p:blipFill>
          <a:blip r:embed="rId40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5337" y="1116066"/>
            <a:ext cx="1647825" cy="61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317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AFRIC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31328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MX" dirty="0" smtClean="0"/>
              <a:t>Suráfrica </a:t>
            </a:r>
            <a:endParaRPr lang="es-CO" dirty="0"/>
          </a:p>
        </p:txBody>
      </p:sp>
      <p:pic>
        <p:nvPicPr>
          <p:cNvPr id="4" name="Picture 2" descr="http://t1.gstatic.com/images?q=tbn:ANd9GcTrUBrfXfhCWJLVM8qa1gtnEICFWyh9_-lhPJEzs6rc4RRxm0H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739"/>
            <a:ext cx="1809750" cy="1943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5 Grupo"/>
          <p:cNvGrpSpPr/>
          <p:nvPr/>
        </p:nvGrpSpPr>
        <p:grpSpPr>
          <a:xfrm>
            <a:off x="3166683" y="1416114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7" name="6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Suráfrica</a:t>
              </a:r>
              <a:endParaRPr lang="es-CO" sz="1700" b="1" kern="1200" dirty="0"/>
            </a:p>
          </p:txBody>
        </p:sp>
      </p:grpSp>
      <p:grpSp>
        <p:nvGrpSpPr>
          <p:cNvPr id="9" name="8 Grupo"/>
          <p:cNvGrpSpPr/>
          <p:nvPr/>
        </p:nvGrpSpPr>
        <p:grpSpPr>
          <a:xfrm>
            <a:off x="467544" y="2492896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Ministerio de </a:t>
              </a:r>
            </a:p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Comercio e Industria</a:t>
              </a:r>
              <a:endParaRPr lang="es-CO" sz="1700" b="1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6444208" y="2492896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Ley del Gas (2007)</a:t>
              </a:r>
              <a:endParaRPr lang="es-CO" sz="1700" b="1" kern="1200" dirty="0"/>
            </a:p>
          </p:txBody>
        </p:sp>
      </p:grpSp>
      <p:grpSp>
        <p:nvGrpSpPr>
          <p:cNvPr id="15" name="14 Grupo"/>
          <p:cNvGrpSpPr/>
          <p:nvPr/>
        </p:nvGrpSpPr>
        <p:grpSpPr>
          <a:xfrm>
            <a:off x="467544" y="3789040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6" name="1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Regulador Nacional para Especificaciones Obligatorias NRCS</a:t>
              </a:r>
              <a:endParaRPr lang="es-CO" sz="1700" kern="1200" dirty="0"/>
            </a:p>
          </p:txBody>
        </p:sp>
      </p:grpSp>
      <p:grpSp>
        <p:nvGrpSpPr>
          <p:cNvPr id="18" name="17 Grupo"/>
          <p:cNvGrpSpPr/>
          <p:nvPr/>
        </p:nvGrpSpPr>
        <p:grpSpPr>
          <a:xfrm>
            <a:off x="6444208" y="3645024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9" name="18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0" name="1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Regulador Nacional de Energía NERSA</a:t>
              </a:r>
              <a:endParaRPr lang="es-CO" sz="1700" kern="1200" dirty="0"/>
            </a:p>
          </p:txBody>
        </p:sp>
      </p:grpSp>
      <p:grpSp>
        <p:nvGrpSpPr>
          <p:cNvPr id="21" name="20 Grupo"/>
          <p:cNvGrpSpPr/>
          <p:nvPr/>
        </p:nvGrpSpPr>
        <p:grpSpPr>
          <a:xfrm>
            <a:off x="467543" y="5483324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Reglamentos Técnico</a:t>
              </a:r>
              <a:r>
                <a:rPr lang="es-MX" sz="1700" dirty="0" smtClean="0"/>
                <a:t>s</a:t>
              </a:r>
              <a:endParaRPr lang="es-CO" sz="1700" kern="1200" dirty="0"/>
            </a:p>
          </p:txBody>
        </p:sp>
      </p:grpSp>
      <p:grpSp>
        <p:nvGrpSpPr>
          <p:cNvPr id="24" name="23 Grupo"/>
          <p:cNvGrpSpPr/>
          <p:nvPr/>
        </p:nvGrpSpPr>
        <p:grpSpPr>
          <a:xfrm>
            <a:off x="3347864" y="5483324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25" name="24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es-ES" dirty="0" smtClean="0"/>
            </a:p>
            <a:p>
              <a:pPr algn="ctr"/>
              <a:r>
                <a:rPr lang="es-ES" dirty="0" smtClean="0"/>
                <a:t>LM-P-018-10-09</a:t>
              </a:r>
              <a:endParaRPr lang="es-CO" dirty="0"/>
            </a:p>
            <a:p>
              <a:endParaRPr lang="es-CO" dirty="0"/>
            </a:p>
          </p:txBody>
        </p:sp>
        <p:sp>
          <p:nvSpPr>
            <p:cNvPr id="26" name="2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O" sz="1700" kern="1200" dirty="0"/>
            </a:p>
          </p:txBody>
        </p:sp>
      </p:grpSp>
      <p:grpSp>
        <p:nvGrpSpPr>
          <p:cNvPr id="28" name="27 Grupo"/>
          <p:cNvGrpSpPr/>
          <p:nvPr/>
        </p:nvGrpSpPr>
        <p:grpSpPr>
          <a:xfrm>
            <a:off x="6444208" y="5013175"/>
            <a:ext cx="2269413" cy="681193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29" name="28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pPr algn="ctr"/>
              <a:r>
                <a:rPr lang="es-ES" dirty="0" smtClean="0"/>
                <a:t>Ley de Metrología Legal (1973)</a:t>
              </a:r>
              <a:endParaRPr lang="es-CO" dirty="0"/>
            </a:p>
            <a:p>
              <a:endParaRPr lang="es-CO" dirty="0"/>
            </a:p>
          </p:txBody>
        </p:sp>
        <p:sp>
          <p:nvSpPr>
            <p:cNvPr id="30" name="2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O" sz="1700" kern="1200" dirty="0"/>
            </a:p>
          </p:txBody>
        </p:sp>
      </p:grpSp>
      <p:grpSp>
        <p:nvGrpSpPr>
          <p:cNvPr id="31" name="30 Grupo"/>
          <p:cNvGrpSpPr/>
          <p:nvPr/>
        </p:nvGrpSpPr>
        <p:grpSpPr>
          <a:xfrm>
            <a:off x="6462785" y="5968723"/>
            <a:ext cx="2269413" cy="681193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32" name="31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pPr algn="ctr"/>
              <a:endParaRPr lang="es-ES" dirty="0" smtClean="0"/>
            </a:p>
            <a:p>
              <a:pPr algn="ctr"/>
              <a:r>
                <a:rPr lang="es-ES" dirty="0" smtClean="0"/>
                <a:t>OIML R140 y R137</a:t>
              </a:r>
              <a:endParaRPr lang="es-CO" dirty="0"/>
            </a:p>
            <a:p>
              <a:endParaRPr lang="es-CO" dirty="0"/>
            </a:p>
          </p:txBody>
        </p:sp>
        <p:sp>
          <p:nvSpPr>
            <p:cNvPr id="33" name="32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CO" sz="1700" kern="1200" dirty="0"/>
            </a:p>
          </p:txBody>
        </p:sp>
      </p:grpSp>
      <p:cxnSp>
        <p:nvCxnSpPr>
          <p:cNvPr id="34" name="33 Conector angular"/>
          <p:cNvCxnSpPr>
            <a:endCxn id="13" idx="0"/>
          </p:cNvCxnSpPr>
          <p:nvPr/>
        </p:nvCxnSpPr>
        <p:spPr>
          <a:xfrm>
            <a:off x="5436096" y="1829112"/>
            <a:ext cx="2142819" cy="663784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angular"/>
          <p:cNvCxnSpPr>
            <a:stCxn id="7" idx="1"/>
            <a:endCxn id="10" idx="0"/>
          </p:cNvCxnSpPr>
          <p:nvPr/>
        </p:nvCxnSpPr>
        <p:spPr>
          <a:xfrm rot="10800000" flipV="1">
            <a:off x="1602251" y="1829112"/>
            <a:ext cx="1564432" cy="663784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37 Conector angular"/>
          <p:cNvCxnSpPr>
            <a:stCxn id="14" idx="2"/>
            <a:endCxn id="20" idx="0"/>
          </p:cNvCxnSpPr>
          <p:nvPr/>
        </p:nvCxnSpPr>
        <p:spPr>
          <a:xfrm rot="5400000">
            <a:off x="7415849" y="3481958"/>
            <a:ext cx="326132" cy="12700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48 Conector angular"/>
          <p:cNvCxnSpPr>
            <a:stCxn id="26" idx="3"/>
            <a:endCxn id="29" idx="1"/>
          </p:cNvCxnSpPr>
          <p:nvPr/>
        </p:nvCxnSpPr>
        <p:spPr>
          <a:xfrm flipV="1">
            <a:off x="5617277" y="5353772"/>
            <a:ext cx="826931" cy="542550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50 Conector angular"/>
          <p:cNvCxnSpPr>
            <a:stCxn id="26" idx="3"/>
            <a:endCxn id="33" idx="1"/>
          </p:cNvCxnSpPr>
          <p:nvPr/>
        </p:nvCxnSpPr>
        <p:spPr>
          <a:xfrm>
            <a:off x="5617277" y="5896322"/>
            <a:ext cx="845508" cy="412998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52 Conector recto de flecha"/>
          <p:cNvCxnSpPr>
            <a:stCxn id="23" idx="3"/>
          </p:cNvCxnSpPr>
          <p:nvPr/>
        </p:nvCxnSpPr>
        <p:spPr>
          <a:xfrm>
            <a:off x="2736956" y="5896322"/>
            <a:ext cx="610908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54 Conector recto de flecha"/>
          <p:cNvCxnSpPr>
            <a:stCxn id="17" idx="2"/>
            <a:endCxn id="22" idx="0"/>
          </p:cNvCxnSpPr>
          <p:nvPr/>
        </p:nvCxnSpPr>
        <p:spPr>
          <a:xfrm flipH="1">
            <a:off x="1602250" y="4615036"/>
            <a:ext cx="1" cy="8682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recto de flecha"/>
          <p:cNvCxnSpPr>
            <a:stCxn id="10" idx="2"/>
            <a:endCxn id="17" idx="0"/>
          </p:cNvCxnSpPr>
          <p:nvPr/>
        </p:nvCxnSpPr>
        <p:spPr>
          <a:xfrm>
            <a:off x="1602251" y="3318892"/>
            <a:ext cx="0" cy="4701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66968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Suráfrica 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9468606"/>
              </p:ext>
            </p:extLst>
          </p:nvPr>
        </p:nvGraphicFramePr>
        <p:xfrm>
          <a:off x="467544" y="2204864"/>
          <a:ext cx="8229600" cy="419100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ASO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s-CO" sz="1400" b="0" dirty="0" smtClean="0"/>
                        <a:t>•Ley del Regulador Nacional de Energía de Sudáfrica, de 2004;</a:t>
                      </a:r>
                    </a:p>
                    <a:p>
                      <a:pPr lvl="0"/>
                      <a:r>
                        <a:rPr lang="es-CO" sz="1400" b="0" dirty="0" smtClean="0"/>
                        <a:t>• Ley del Gas de 2001 ("la Ley");</a:t>
                      </a:r>
                    </a:p>
                    <a:p>
                      <a:pPr lvl="0"/>
                      <a:r>
                        <a:rPr lang="es-CO" sz="1400" b="0" dirty="0" smtClean="0"/>
                        <a:t>•  Las condiciones de la licencia formuladas en términos de la Ley ("condiciones de licencia");</a:t>
                      </a:r>
                    </a:p>
                    <a:p>
                      <a:pPr lvl="0"/>
                      <a:r>
                        <a:rPr lang="es-CO" sz="1400" b="0" dirty="0" smtClean="0"/>
                        <a:t>•   El Acuerdo sobre el Gasoducto de Mozambique entre el Gobierno de la República de Sudáfrica </a:t>
                      </a:r>
                    </a:p>
                    <a:p>
                      <a:pPr lvl="0"/>
                      <a:r>
                        <a:rPr lang="es-CO" sz="1400" b="0" dirty="0" smtClean="0"/>
                        <a:t>y SASOL </a:t>
                      </a:r>
                      <a:r>
                        <a:rPr lang="es-CO" sz="1400" b="0" dirty="0" err="1" smtClean="0"/>
                        <a:t>Limited</a:t>
                      </a:r>
                      <a:r>
                        <a:rPr lang="es-CO" sz="1400" b="0" dirty="0" smtClean="0"/>
                        <a:t>, incluyendo el Apéndice Uno (el "Acuerdo");</a:t>
                      </a:r>
                    </a:p>
                    <a:p>
                      <a:pPr lvl="0"/>
                      <a:r>
                        <a:rPr lang="es-CO" sz="1400" b="0" dirty="0" smtClean="0"/>
                        <a:t>•     El Reglamento establecido por NERSA bajo los términos de la Ley ("el Reglamento"). LM-P-018-10-09 </a:t>
                      </a:r>
                      <a:endParaRPr lang="es-CO" sz="14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 R137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OIML</a:t>
                      </a:r>
                      <a:r>
                        <a:rPr lang="es-MX" baseline="0" dirty="0" smtClean="0"/>
                        <a:t> R140</a:t>
                      </a:r>
                      <a:endParaRPr lang="es-MX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http://t1.gstatic.com/images?q=tbn:ANd9GcTrUBrfXfhCWJLVM8qa1gtnEICFWyh9_-lhPJEzs6rc4RRxm0H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5739"/>
            <a:ext cx="1809750" cy="1943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137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ASI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39910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t3.gstatic.com/images?q=tbn:ANd9GcTeoF40YGV1pVzLlvvht2dxqXtsBo9B4WYwFtP_vO3uALryZg5oT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" y="11832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s-MX" dirty="0" smtClean="0"/>
              <a:t>Rusia</a:t>
            </a:r>
            <a:endParaRPr lang="es-CO" dirty="0"/>
          </a:p>
        </p:txBody>
      </p:sp>
      <p:grpSp>
        <p:nvGrpSpPr>
          <p:cNvPr id="6" name="5 Grupo"/>
          <p:cNvGrpSpPr/>
          <p:nvPr/>
        </p:nvGrpSpPr>
        <p:grpSpPr>
          <a:xfrm>
            <a:off x="3166683" y="2102286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7" name="6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Rusia</a:t>
              </a:r>
              <a:endParaRPr lang="es-CO" sz="1700" b="1" kern="1200" dirty="0"/>
            </a:p>
          </p:txBody>
        </p:sp>
      </p:grpSp>
      <p:grpSp>
        <p:nvGrpSpPr>
          <p:cNvPr id="9" name="8 Grupo"/>
          <p:cNvGrpSpPr/>
          <p:nvPr/>
        </p:nvGrpSpPr>
        <p:grpSpPr>
          <a:xfrm>
            <a:off x="790419" y="3179068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Gobierno Federal</a:t>
              </a:r>
              <a:endParaRPr lang="es-CO" sz="1700" b="1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5580112" y="3179068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700" b="1" dirty="0"/>
                <a:t> Sistema  Unificado  de  Suministro  de  Gas  de  Rusia  (UGSS)</a:t>
              </a:r>
              <a:endParaRPr lang="es-CO" sz="1700" b="1" kern="1200" dirty="0"/>
            </a:p>
          </p:txBody>
        </p:sp>
      </p:grpSp>
      <p:grpSp>
        <p:nvGrpSpPr>
          <p:cNvPr id="15" name="14 Grupo"/>
          <p:cNvGrpSpPr/>
          <p:nvPr/>
        </p:nvGrpSpPr>
        <p:grpSpPr>
          <a:xfrm>
            <a:off x="790419" y="4475212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6" name="15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700" dirty="0"/>
                <a:t>Ley Federal sobre el suministro de gas</a:t>
              </a:r>
              <a:endParaRPr lang="es-CO" sz="1700" kern="1200" dirty="0"/>
            </a:p>
          </p:txBody>
        </p:sp>
      </p:grpSp>
      <p:grpSp>
        <p:nvGrpSpPr>
          <p:cNvPr id="18" name="17 Grupo"/>
          <p:cNvGrpSpPr/>
          <p:nvPr/>
        </p:nvGrpSpPr>
        <p:grpSpPr>
          <a:xfrm>
            <a:off x="5580112" y="4475212"/>
            <a:ext cx="2269413" cy="825996"/>
            <a:chOff x="3563888" y="2169"/>
            <a:chExt cx="2016223" cy="825996"/>
          </a:xfrm>
          <a:scene3d>
            <a:camera prst="orthographicFront"/>
            <a:lightRig rig="flat" dir="t"/>
          </a:scene3d>
        </p:grpSpPr>
        <p:sp>
          <p:nvSpPr>
            <p:cNvPr id="19" name="18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0" name="19 Rectángulo"/>
            <p:cNvSpPr/>
            <p:nvPr/>
          </p:nvSpPr>
          <p:spPr>
            <a:xfrm>
              <a:off x="3563888" y="2169"/>
              <a:ext cx="2016223" cy="82599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GAZPROM</a:t>
              </a:r>
              <a:endParaRPr lang="es-CO" sz="1700" kern="1200" dirty="0"/>
            </a:p>
          </p:txBody>
        </p:sp>
      </p:grpSp>
      <p:cxnSp>
        <p:nvCxnSpPr>
          <p:cNvPr id="34" name="33 Conector angular"/>
          <p:cNvCxnSpPr>
            <a:stCxn id="7" idx="3"/>
            <a:endCxn id="13" idx="0"/>
          </p:cNvCxnSpPr>
          <p:nvPr/>
        </p:nvCxnSpPr>
        <p:spPr>
          <a:xfrm>
            <a:off x="5436096" y="2515284"/>
            <a:ext cx="1278723" cy="663784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35 Conector angular"/>
          <p:cNvCxnSpPr>
            <a:stCxn id="7" idx="1"/>
            <a:endCxn id="10" idx="0"/>
          </p:cNvCxnSpPr>
          <p:nvPr/>
        </p:nvCxnSpPr>
        <p:spPr>
          <a:xfrm rot="10800000" flipV="1">
            <a:off x="1925127" y="2515284"/>
            <a:ext cx="1241557" cy="663784"/>
          </a:xfrm>
          <a:prstGeom prst="bentConnector2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37 Conector angular"/>
          <p:cNvCxnSpPr>
            <a:stCxn id="14" idx="2"/>
            <a:endCxn id="20" idx="0"/>
          </p:cNvCxnSpPr>
          <p:nvPr/>
        </p:nvCxnSpPr>
        <p:spPr>
          <a:xfrm rot="5400000">
            <a:off x="6479745" y="4240138"/>
            <a:ext cx="470148" cy="12700"/>
          </a:xfrm>
          <a:prstGeom prst="bentConnector3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recto de flecha"/>
          <p:cNvCxnSpPr>
            <a:stCxn id="10" idx="2"/>
            <a:endCxn id="17" idx="0"/>
          </p:cNvCxnSpPr>
          <p:nvPr/>
        </p:nvCxnSpPr>
        <p:spPr>
          <a:xfrm>
            <a:off x="1925126" y="4005064"/>
            <a:ext cx="0" cy="47014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14419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Rusi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4941428"/>
              </p:ext>
            </p:extLst>
          </p:nvPr>
        </p:nvGraphicFramePr>
        <p:xfrm>
          <a:off x="467544" y="2204864"/>
          <a:ext cx="8229600" cy="23977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Operador del</a:t>
                      </a:r>
                      <a:r>
                        <a:rPr lang="es-MX" baseline="0" dirty="0" smtClean="0"/>
                        <a:t> Sistema de transporte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GAZPROM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s-CO" sz="1800" b="0" dirty="0" smtClean="0">
                          <a:latin typeface="+mn-lt"/>
                          <a:cs typeface="Arial" pitchFamily="34" charset="0"/>
                        </a:rPr>
                        <a:t>Decreto Gubernamental No. 858, </a:t>
                      </a:r>
                    </a:p>
                    <a:p>
                      <a:pPr lvl="0"/>
                      <a:r>
                        <a:rPr lang="es-CO" sz="1800" b="0" dirty="0" smtClean="0">
                          <a:latin typeface="+mn-lt"/>
                          <a:cs typeface="Arial" pitchFamily="34" charset="0"/>
                        </a:rPr>
                        <a:t>Ley Federal sobre el suministro de gas –</a:t>
                      </a:r>
                      <a:r>
                        <a:rPr lang="es-CO" sz="1800" b="0" dirty="0" err="1" smtClean="0">
                          <a:latin typeface="+mn-lt"/>
                          <a:cs typeface="Arial" pitchFamily="34" charset="0"/>
                        </a:rPr>
                        <a:t>The</a:t>
                      </a:r>
                      <a:r>
                        <a:rPr lang="es-CO" sz="1800" b="0" dirty="0" smtClean="0">
                          <a:latin typeface="+mn-lt"/>
                          <a:cs typeface="Arial" pitchFamily="34" charset="0"/>
                        </a:rPr>
                        <a:t> Gas </a:t>
                      </a:r>
                      <a:r>
                        <a:rPr lang="es-CO" sz="1800" b="0" dirty="0" err="1" smtClean="0">
                          <a:latin typeface="+mn-lt"/>
                          <a:cs typeface="Arial" pitchFamily="34" charset="0"/>
                        </a:rPr>
                        <a:t>Law</a:t>
                      </a:r>
                      <a:r>
                        <a:rPr lang="es-CO" sz="1800" b="0" dirty="0" smtClean="0">
                          <a:latin typeface="+mn-lt"/>
                          <a:cs typeface="Arial" pitchFamily="34" charset="0"/>
                        </a:rPr>
                        <a:t>, 1999</a:t>
                      </a:r>
                      <a:endParaRPr lang="es-CO" sz="1800" b="0" dirty="0">
                        <a:latin typeface="+mn-lt"/>
                        <a:cs typeface="Arial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GOST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 descr="http://t3.gstatic.com/images?q=tbn:ANd9GcTeoF40YGV1pVzLlvvht2dxqXtsBo9B4WYwFtP_vO3uALryZg5oT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4" y="11832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8306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076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3077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080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087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3088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  <a:solidFill>
            <a:schemeClr val="bg1">
              <a:lumMod val="50000"/>
            </a:schemeClr>
          </a:solidFill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3091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095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  <a:solidFill>
            <a:schemeClr val="bg1">
              <a:lumMod val="50000"/>
            </a:schemeClr>
          </a:solidFill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14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3115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  <a:solidFill>
            <a:schemeClr val="bg1">
              <a:lumMod val="50000"/>
            </a:schemeClr>
          </a:solidFill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  <a:solidFill>
            <a:schemeClr val="bg1">
              <a:lumMod val="50000"/>
            </a:schemeClr>
          </a:solidFill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43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  <a:solidFill>
            <a:schemeClr val="bg1">
              <a:lumMod val="50000"/>
            </a:schemeClr>
          </a:solidFill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50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63500" cy="58738"/>
          </a:xfrm>
          <a:custGeom>
            <a:avLst/>
            <a:gdLst>
              <a:gd name="T0" fmla="*/ 0 w 126"/>
              <a:gd name="T1" fmla="*/ 18000 h 62"/>
              <a:gd name="T2" fmla="*/ 5525 w 126"/>
              <a:gd name="T3" fmla="*/ 18948 h 62"/>
              <a:gd name="T4" fmla="*/ 10547 w 126"/>
              <a:gd name="T5" fmla="*/ 19895 h 62"/>
              <a:gd name="T6" fmla="*/ 14565 w 126"/>
              <a:gd name="T7" fmla="*/ 21790 h 62"/>
              <a:gd name="T8" fmla="*/ 18080 w 126"/>
              <a:gd name="T9" fmla="*/ 24632 h 62"/>
              <a:gd name="T10" fmla="*/ 25112 w 126"/>
              <a:gd name="T11" fmla="*/ 31264 h 62"/>
              <a:gd name="T12" fmla="*/ 30636 w 126"/>
              <a:gd name="T13" fmla="*/ 37895 h 62"/>
              <a:gd name="T14" fmla="*/ 35156 w 126"/>
              <a:gd name="T15" fmla="*/ 45475 h 62"/>
              <a:gd name="T16" fmla="*/ 39676 w 126"/>
              <a:gd name="T17" fmla="*/ 52106 h 62"/>
              <a:gd name="T18" fmla="*/ 42187 w 126"/>
              <a:gd name="T19" fmla="*/ 54948 h 62"/>
              <a:gd name="T20" fmla="*/ 44698 w 126"/>
              <a:gd name="T21" fmla="*/ 56843 h 62"/>
              <a:gd name="T22" fmla="*/ 47712 w 126"/>
              <a:gd name="T23" fmla="*/ 57791 h 62"/>
              <a:gd name="T24" fmla="*/ 50223 w 126"/>
              <a:gd name="T25" fmla="*/ 58738 h 62"/>
              <a:gd name="T26" fmla="*/ 52734 w 126"/>
              <a:gd name="T27" fmla="*/ 57791 h 62"/>
              <a:gd name="T28" fmla="*/ 54743 w 126"/>
              <a:gd name="T29" fmla="*/ 56843 h 62"/>
              <a:gd name="T30" fmla="*/ 56752 w 126"/>
              <a:gd name="T31" fmla="*/ 54948 h 62"/>
              <a:gd name="T32" fmla="*/ 58761 w 126"/>
              <a:gd name="T33" fmla="*/ 53054 h 62"/>
              <a:gd name="T34" fmla="*/ 61272 w 126"/>
              <a:gd name="T35" fmla="*/ 48317 h 62"/>
              <a:gd name="T36" fmla="*/ 63281 w 126"/>
              <a:gd name="T37" fmla="*/ 46422 h 62"/>
              <a:gd name="T38" fmla="*/ 55245 w 126"/>
              <a:gd name="T39" fmla="*/ 31264 h 62"/>
              <a:gd name="T40" fmla="*/ 48214 w 126"/>
              <a:gd name="T41" fmla="*/ 19895 h 62"/>
              <a:gd name="T42" fmla="*/ 44698 w 126"/>
              <a:gd name="T43" fmla="*/ 14211 h 62"/>
              <a:gd name="T44" fmla="*/ 40681 w 126"/>
              <a:gd name="T45" fmla="*/ 8526 h 62"/>
              <a:gd name="T46" fmla="*/ 36161 w 126"/>
              <a:gd name="T47" fmla="*/ 4737 h 62"/>
              <a:gd name="T48" fmla="*/ 30636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3151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  <a:solidFill>
            <a:schemeClr val="bg1">
              <a:lumMod val="50000"/>
            </a:schemeClr>
          </a:solidFill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grpFill/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  <a:solidFill>
            <a:schemeClr val="bg1">
              <a:lumMod val="50000"/>
            </a:schemeClr>
          </a:solidFill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  <a:solidFill>
            <a:srgbClr val="FFC000"/>
          </a:solidFill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72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78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80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85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193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3194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231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3232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244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273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s-CO"/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  <a:solidFill>
            <a:schemeClr val="bg1">
              <a:lumMod val="50000"/>
            </a:schemeClr>
          </a:solidFill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304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336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  <a:solidFill>
            <a:schemeClr val="bg1">
              <a:lumMod val="50000"/>
            </a:schemeClr>
          </a:solidFill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  <a:solidFill>
            <a:schemeClr val="bg1">
              <a:lumMod val="50000"/>
            </a:schemeClr>
          </a:solidFill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345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FFC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es-CO"/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  <a:solidFill>
            <a:srgbClr val="FF0000"/>
          </a:solidFill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  <a:solidFill>
            <a:schemeClr val="bg1">
              <a:lumMod val="50000"/>
            </a:schemeClr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rgbClr val="FFC000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3416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s-CO"/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  <a:solidFill>
            <a:schemeClr val="bg1">
              <a:lumMod val="50000"/>
            </a:schemeClr>
          </a:solidFill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  <a:solidFill>
            <a:schemeClr val="bg1">
              <a:lumMod val="50000"/>
            </a:schemeClr>
          </a:solidFill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CO"/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chemeClr val="bg1">
              <a:lumMod val="50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chemeClr val="bg1">
              <a:lumMod val="50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s-CO"/>
          </a:p>
        </p:txBody>
      </p:sp>
      <p:sp>
        <p:nvSpPr>
          <p:cNvPr id="4" name="3 Rectángulo"/>
          <p:cNvSpPr/>
          <p:nvPr/>
        </p:nvSpPr>
        <p:spPr>
          <a:xfrm>
            <a:off x="2344738" y="3409950"/>
            <a:ext cx="49212" cy="460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cxnSp>
        <p:nvCxnSpPr>
          <p:cNvPr id="6" name="5 Conector angular"/>
          <p:cNvCxnSpPr/>
          <p:nvPr/>
        </p:nvCxnSpPr>
        <p:spPr>
          <a:xfrm>
            <a:off x="2339975" y="3429000"/>
            <a:ext cx="1147763" cy="1554163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8" name="567 CuadroTexto"/>
          <p:cNvSpPr txBox="1"/>
          <p:nvPr/>
        </p:nvSpPr>
        <p:spPr>
          <a:xfrm>
            <a:off x="3097213" y="4897438"/>
            <a:ext cx="969962" cy="2762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Venezuela</a:t>
            </a:r>
          </a:p>
        </p:txBody>
      </p:sp>
      <p:sp>
        <p:nvSpPr>
          <p:cNvPr id="8" name="7 Rectángulo"/>
          <p:cNvSpPr/>
          <p:nvPr/>
        </p:nvSpPr>
        <p:spPr>
          <a:xfrm>
            <a:off x="3258195" y="5156423"/>
            <a:ext cx="593725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sp>
        <p:nvSpPr>
          <p:cNvPr id="570" name="569 Rectángulo"/>
          <p:cNvSpPr/>
          <p:nvPr/>
        </p:nvSpPr>
        <p:spPr>
          <a:xfrm>
            <a:off x="2722563" y="4030663"/>
            <a:ext cx="49212" cy="460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cxnSp>
        <p:nvCxnSpPr>
          <p:cNvPr id="10" name="9 Conector angular"/>
          <p:cNvCxnSpPr>
            <a:stCxn id="570" idx="1"/>
          </p:cNvCxnSpPr>
          <p:nvPr/>
        </p:nvCxnSpPr>
        <p:spPr>
          <a:xfrm rot="10800000" flipV="1">
            <a:off x="738188" y="4054475"/>
            <a:ext cx="1984375" cy="1169988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2" name="573 CuadroTexto"/>
          <p:cNvSpPr txBox="1">
            <a:spLocks noChangeArrowheads="1"/>
          </p:cNvSpPr>
          <p:nvPr/>
        </p:nvSpPr>
        <p:spPr bwMode="auto">
          <a:xfrm>
            <a:off x="55563" y="4738688"/>
            <a:ext cx="8985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CO" sz="1200" b="1">
                <a:solidFill>
                  <a:srgbClr val="0D0D0D"/>
                </a:solidFill>
                <a:latin typeface="Agency FB" pitchFamily="34" charset="0"/>
              </a:rPr>
              <a:t>Brasil</a:t>
            </a:r>
          </a:p>
        </p:txBody>
      </p:sp>
      <p:sp>
        <p:nvSpPr>
          <p:cNvPr id="575" name="574 Rectángulo"/>
          <p:cNvSpPr/>
          <p:nvPr/>
        </p:nvSpPr>
        <p:spPr>
          <a:xfrm>
            <a:off x="107950" y="5008563"/>
            <a:ext cx="612775" cy="504825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5</a:t>
            </a:r>
          </a:p>
        </p:txBody>
      </p:sp>
      <p:sp>
        <p:nvSpPr>
          <p:cNvPr id="576" name="575 Rectángulo"/>
          <p:cNvSpPr/>
          <p:nvPr/>
        </p:nvSpPr>
        <p:spPr>
          <a:xfrm>
            <a:off x="2484438" y="4679950"/>
            <a:ext cx="49212" cy="444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cxnSp>
        <p:nvCxnSpPr>
          <p:cNvPr id="13" name="12 Conector angular"/>
          <p:cNvCxnSpPr>
            <a:stCxn id="576" idx="2"/>
          </p:cNvCxnSpPr>
          <p:nvPr/>
        </p:nvCxnSpPr>
        <p:spPr>
          <a:xfrm rot="5400000">
            <a:off x="1784350" y="4948238"/>
            <a:ext cx="947738" cy="500062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9" name="578 CuadroTexto"/>
          <p:cNvSpPr txBox="1"/>
          <p:nvPr/>
        </p:nvSpPr>
        <p:spPr>
          <a:xfrm>
            <a:off x="1562100" y="5589588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rgentina</a:t>
            </a:r>
          </a:p>
        </p:txBody>
      </p:sp>
      <p:sp>
        <p:nvSpPr>
          <p:cNvPr id="580" name="579 Rectángulo"/>
          <p:cNvSpPr/>
          <p:nvPr/>
        </p:nvSpPr>
        <p:spPr>
          <a:xfrm>
            <a:off x="1691680" y="5859463"/>
            <a:ext cx="606543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sp>
        <p:nvSpPr>
          <p:cNvPr id="3468" name="580 CuadroTexto"/>
          <p:cNvSpPr txBox="1">
            <a:spLocks noChangeArrowheads="1"/>
          </p:cNvSpPr>
          <p:nvPr/>
        </p:nvSpPr>
        <p:spPr bwMode="auto">
          <a:xfrm>
            <a:off x="239867" y="5740400"/>
            <a:ext cx="1462868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r>
              <a:rPr lang="es-CO" sz="1100" b="1" dirty="0">
                <a:latin typeface="Agency FB" pitchFamily="34" charset="0"/>
              </a:rPr>
              <a:t>Definido solo para sistemas de medición con USM</a:t>
            </a:r>
          </a:p>
        </p:txBody>
      </p:sp>
      <p:sp>
        <p:nvSpPr>
          <p:cNvPr id="3469" name="13 CuadroTexto"/>
          <p:cNvSpPr txBox="1">
            <a:spLocks noChangeArrowheads="1"/>
          </p:cNvSpPr>
          <p:nvPr/>
        </p:nvSpPr>
        <p:spPr bwMode="auto">
          <a:xfrm>
            <a:off x="107950" y="220578"/>
            <a:ext cx="89614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CO" sz="2000" dirty="0">
                <a:latin typeface="Arial Rounded MT Bold" pitchFamily="34" charset="0"/>
              </a:rPr>
              <a:t>Incertidumbre permisible para sistemas de medición de volumen de gas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179388" y="558899"/>
            <a:ext cx="87852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dirty="0">
                <a:solidFill>
                  <a:schemeClr val="bg1">
                    <a:lumMod val="50000"/>
                  </a:schemeClr>
                </a:solidFill>
                <a:latin typeface="Arial Rounded MT Bold" pitchFamily="34" charset="0"/>
              </a:rPr>
              <a:t>En esta dispositiva se presenta únicamente las incertidumbre permisible para  transferencia de custodia</a:t>
            </a:r>
          </a:p>
        </p:txBody>
      </p:sp>
      <p:sp>
        <p:nvSpPr>
          <p:cNvPr id="584" name="583 Rectángulo"/>
          <p:cNvSpPr/>
          <p:nvPr/>
        </p:nvSpPr>
        <p:spPr>
          <a:xfrm>
            <a:off x="1476375" y="2879725"/>
            <a:ext cx="49213" cy="444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85" name="584 Rectángulo"/>
          <p:cNvSpPr/>
          <p:nvPr/>
        </p:nvSpPr>
        <p:spPr>
          <a:xfrm>
            <a:off x="1628775" y="2349500"/>
            <a:ext cx="49213" cy="444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87" name="586 Rectángulo"/>
          <p:cNvSpPr/>
          <p:nvPr/>
        </p:nvSpPr>
        <p:spPr>
          <a:xfrm>
            <a:off x="6035675" y="1655763"/>
            <a:ext cx="49213" cy="444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88" name="587 Rectángulo"/>
          <p:cNvSpPr/>
          <p:nvPr/>
        </p:nvSpPr>
        <p:spPr>
          <a:xfrm>
            <a:off x="6899275" y="2374900"/>
            <a:ext cx="49213" cy="460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89" name="588 Rectángulo"/>
          <p:cNvSpPr/>
          <p:nvPr/>
        </p:nvSpPr>
        <p:spPr>
          <a:xfrm>
            <a:off x="7331075" y="4464050"/>
            <a:ext cx="49213" cy="444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90" name="589 Rectángulo"/>
          <p:cNvSpPr/>
          <p:nvPr/>
        </p:nvSpPr>
        <p:spPr>
          <a:xfrm>
            <a:off x="4572000" y="4581525"/>
            <a:ext cx="49213" cy="460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92" name="591 Rectángulo"/>
          <p:cNvSpPr/>
          <p:nvPr/>
        </p:nvSpPr>
        <p:spPr>
          <a:xfrm>
            <a:off x="4067175" y="1989138"/>
            <a:ext cx="49213" cy="460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93" name="592 Rectángulo"/>
          <p:cNvSpPr/>
          <p:nvPr/>
        </p:nvSpPr>
        <p:spPr>
          <a:xfrm>
            <a:off x="4235450" y="1989138"/>
            <a:ext cx="49213" cy="460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94" name="593 Rectángulo"/>
          <p:cNvSpPr/>
          <p:nvPr/>
        </p:nvSpPr>
        <p:spPr>
          <a:xfrm>
            <a:off x="4356100" y="1582738"/>
            <a:ext cx="49213" cy="460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95" name="594 Rectángulo"/>
          <p:cNvSpPr/>
          <p:nvPr/>
        </p:nvSpPr>
        <p:spPr>
          <a:xfrm>
            <a:off x="4284663" y="2276475"/>
            <a:ext cx="49212" cy="4603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cxnSp>
        <p:nvCxnSpPr>
          <p:cNvPr id="17" name="16 Conector angular"/>
          <p:cNvCxnSpPr>
            <a:stCxn id="584" idx="1"/>
          </p:cNvCxnSpPr>
          <p:nvPr/>
        </p:nvCxnSpPr>
        <p:spPr>
          <a:xfrm rot="10800000" flipV="1">
            <a:off x="738188" y="2901950"/>
            <a:ext cx="738187" cy="209550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18 Conector angular"/>
          <p:cNvCxnSpPr>
            <a:stCxn id="585" idx="1"/>
            <a:endCxn id="3076" idx="41"/>
          </p:cNvCxnSpPr>
          <p:nvPr/>
        </p:nvCxnSpPr>
        <p:spPr>
          <a:xfrm rot="10800000">
            <a:off x="1003300" y="1604963"/>
            <a:ext cx="625475" cy="766762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602 CuadroTexto"/>
          <p:cNvSpPr txBox="1"/>
          <p:nvPr/>
        </p:nvSpPr>
        <p:spPr>
          <a:xfrm>
            <a:off x="34925" y="2708275"/>
            <a:ext cx="900113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México</a:t>
            </a:r>
          </a:p>
        </p:txBody>
      </p:sp>
      <p:sp>
        <p:nvSpPr>
          <p:cNvPr id="604" name="603 Rectángulo"/>
          <p:cNvSpPr/>
          <p:nvPr/>
        </p:nvSpPr>
        <p:spPr>
          <a:xfrm>
            <a:off x="179388" y="2979738"/>
            <a:ext cx="520700" cy="503237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2,0</a:t>
            </a:r>
          </a:p>
        </p:txBody>
      </p:sp>
      <p:sp>
        <p:nvSpPr>
          <p:cNvPr id="3485" name="23 CuadroTexto"/>
          <p:cNvSpPr txBox="1">
            <a:spLocks noChangeArrowheads="1"/>
          </p:cNvSpPr>
          <p:nvPr/>
        </p:nvSpPr>
        <p:spPr bwMode="auto">
          <a:xfrm>
            <a:off x="649288" y="3132138"/>
            <a:ext cx="8128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CO" dirty="0">
                <a:latin typeface="Agency FB" pitchFamily="34" charset="0"/>
              </a:rPr>
              <a:t>2012</a:t>
            </a:r>
          </a:p>
        </p:txBody>
      </p:sp>
      <p:sp>
        <p:nvSpPr>
          <p:cNvPr id="607" name="606 Rectángulo"/>
          <p:cNvSpPr/>
          <p:nvPr/>
        </p:nvSpPr>
        <p:spPr>
          <a:xfrm>
            <a:off x="179388" y="3513138"/>
            <a:ext cx="520700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sp>
        <p:nvSpPr>
          <p:cNvPr id="3487" name="607 CuadroTexto"/>
          <p:cNvSpPr txBox="1">
            <a:spLocks noChangeArrowheads="1"/>
          </p:cNvSpPr>
          <p:nvPr/>
        </p:nvSpPr>
        <p:spPr bwMode="auto">
          <a:xfrm>
            <a:off x="649288" y="3716338"/>
            <a:ext cx="8128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s-CO" dirty="0">
                <a:latin typeface="Agency FB" pitchFamily="34" charset="0"/>
              </a:rPr>
              <a:t>2015</a:t>
            </a:r>
          </a:p>
        </p:txBody>
      </p:sp>
      <p:sp>
        <p:nvSpPr>
          <p:cNvPr id="611" name="610 CuadroTexto"/>
          <p:cNvSpPr txBox="1"/>
          <p:nvPr/>
        </p:nvSpPr>
        <p:spPr>
          <a:xfrm>
            <a:off x="144463" y="1135063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E.E.U.U.</a:t>
            </a:r>
          </a:p>
        </p:txBody>
      </p:sp>
      <p:sp>
        <p:nvSpPr>
          <p:cNvPr id="612" name="611 Rectángulo"/>
          <p:cNvSpPr/>
          <p:nvPr/>
        </p:nvSpPr>
        <p:spPr>
          <a:xfrm>
            <a:off x="34925" y="1412875"/>
            <a:ext cx="1084263" cy="798512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Varía entre 1,0 y 2,0</a:t>
            </a:r>
          </a:p>
        </p:txBody>
      </p:sp>
      <p:cxnSp>
        <p:nvCxnSpPr>
          <p:cNvPr id="28" name="27 Conector angular"/>
          <p:cNvCxnSpPr>
            <a:stCxn id="595" idx="1"/>
            <a:endCxn id="616" idx="3"/>
          </p:cNvCxnSpPr>
          <p:nvPr/>
        </p:nvCxnSpPr>
        <p:spPr>
          <a:xfrm rot="10800000" flipV="1">
            <a:off x="3249613" y="2299494"/>
            <a:ext cx="1035050" cy="62230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" name="614 CuadroTexto"/>
          <p:cNvSpPr txBox="1"/>
          <p:nvPr/>
        </p:nvSpPr>
        <p:spPr>
          <a:xfrm>
            <a:off x="2555776" y="2432695"/>
            <a:ext cx="900112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Italia</a:t>
            </a:r>
          </a:p>
        </p:txBody>
      </p:sp>
      <p:sp>
        <p:nvSpPr>
          <p:cNvPr id="616" name="615 Rectángulo"/>
          <p:cNvSpPr/>
          <p:nvPr/>
        </p:nvSpPr>
        <p:spPr>
          <a:xfrm>
            <a:off x="2706688" y="2670175"/>
            <a:ext cx="542925" cy="50323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cxnSp>
        <p:nvCxnSpPr>
          <p:cNvPr id="549" name="548 Conector angular"/>
          <p:cNvCxnSpPr>
            <a:endCxn id="2465" idx="58"/>
          </p:cNvCxnSpPr>
          <p:nvPr/>
        </p:nvCxnSpPr>
        <p:spPr>
          <a:xfrm rot="10800000">
            <a:off x="2801938" y="1214438"/>
            <a:ext cx="1274762" cy="768350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2" name="631 CuadroTexto"/>
          <p:cNvSpPr txBox="1"/>
          <p:nvPr/>
        </p:nvSpPr>
        <p:spPr>
          <a:xfrm>
            <a:off x="2098675" y="757238"/>
            <a:ext cx="900113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Holanda</a:t>
            </a:r>
          </a:p>
        </p:txBody>
      </p:sp>
      <p:sp>
        <p:nvSpPr>
          <p:cNvPr id="633" name="632 Rectángulo"/>
          <p:cNvSpPr/>
          <p:nvPr/>
        </p:nvSpPr>
        <p:spPr>
          <a:xfrm>
            <a:off x="2311399" y="1014413"/>
            <a:ext cx="525553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sp>
        <p:nvSpPr>
          <p:cNvPr id="635" name="634 CuadroTexto"/>
          <p:cNvSpPr txBox="1"/>
          <p:nvPr/>
        </p:nvSpPr>
        <p:spPr>
          <a:xfrm>
            <a:off x="4572000" y="795338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Noruega</a:t>
            </a:r>
          </a:p>
        </p:txBody>
      </p:sp>
      <p:sp>
        <p:nvSpPr>
          <p:cNvPr id="636" name="635 Rectángulo"/>
          <p:cNvSpPr/>
          <p:nvPr/>
        </p:nvSpPr>
        <p:spPr>
          <a:xfrm>
            <a:off x="4783137" y="1052513"/>
            <a:ext cx="554037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cxnSp>
        <p:nvCxnSpPr>
          <p:cNvPr id="567" name="566 Conector angular"/>
          <p:cNvCxnSpPr>
            <a:stCxn id="594" idx="0"/>
            <a:endCxn id="636" idx="1"/>
          </p:cNvCxnSpPr>
          <p:nvPr/>
        </p:nvCxnSpPr>
        <p:spPr>
          <a:xfrm rot="5400000" flipH="1" flipV="1">
            <a:off x="4443016" y="1242617"/>
            <a:ext cx="277812" cy="402430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9" name="638 CuadroTexto"/>
          <p:cNvSpPr txBox="1"/>
          <p:nvPr/>
        </p:nvSpPr>
        <p:spPr>
          <a:xfrm>
            <a:off x="7850188" y="5462588"/>
            <a:ext cx="89852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Australia</a:t>
            </a:r>
          </a:p>
        </p:txBody>
      </p:sp>
      <p:sp>
        <p:nvSpPr>
          <p:cNvPr id="640" name="639 Rectángulo"/>
          <p:cNvSpPr/>
          <p:nvPr/>
        </p:nvSpPr>
        <p:spPr>
          <a:xfrm>
            <a:off x="8083549" y="5732463"/>
            <a:ext cx="665163" cy="504825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0,7</a:t>
            </a:r>
          </a:p>
        </p:txBody>
      </p:sp>
      <p:cxnSp>
        <p:nvCxnSpPr>
          <p:cNvPr id="571" name="570 Conector angular"/>
          <p:cNvCxnSpPr>
            <a:stCxn id="589" idx="3"/>
            <a:endCxn id="640" idx="1"/>
          </p:cNvCxnSpPr>
          <p:nvPr/>
        </p:nvCxnSpPr>
        <p:spPr>
          <a:xfrm>
            <a:off x="7380288" y="4486275"/>
            <a:ext cx="703261" cy="1498601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2" name="571 Rectángulo"/>
          <p:cNvSpPr/>
          <p:nvPr/>
        </p:nvSpPr>
        <p:spPr>
          <a:xfrm>
            <a:off x="3143251" y="6453336"/>
            <a:ext cx="6000750" cy="4046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dirty="0">
                <a:solidFill>
                  <a:schemeClr val="bg1"/>
                </a:solidFill>
                <a:latin typeface="Arial Rounded MT Bold"/>
              </a:rPr>
              <a:t>Valores reportados en % relativo al volumen a condiciones base</a:t>
            </a:r>
          </a:p>
        </p:txBody>
      </p:sp>
      <p:sp>
        <p:nvSpPr>
          <p:cNvPr id="644" name="643 CuadroTexto"/>
          <p:cNvSpPr txBox="1"/>
          <p:nvPr/>
        </p:nvSpPr>
        <p:spPr>
          <a:xfrm>
            <a:off x="5257800" y="5445125"/>
            <a:ext cx="898525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Sudáfrica</a:t>
            </a:r>
          </a:p>
        </p:txBody>
      </p:sp>
      <p:sp>
        <p:nvSpPr>
          <p:cNvPr id="645" name="644 Rectángulo"/>
          <p:cNvSpPr/>
          <p:nvPr/>
        </p:nvSpPr>
        <p:spPr>
          <a:xfrm>
            <a:off x="5491163" y="5715000"/>
            <a:ext cx="665162" cy="504825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0,9</a:t>
            </a:r>
          </a:p>
        </p:txBody>
      </p:sp>
      <p:cxnSp>
        <p:nvCxnSpPr>
          <p:cNvPr id="577" name="576 Conector angular"/>
          <p:cNvCxnSpPr>
            <a:stCxn id="590" idx="1"/>
            <a:endCxn id="645" idx="1"/>
          </p:cNvCxnSpPr>
          <p:nvPr/>
        </p:nvCxnSpPr>
        <p:spPr>
          <a:xfrm rot="10800000" flipH="1" flipV="1">
            <a:off x="4571999" y="4604543"/>
            <a:ext cx="919163" cy="1362869"/>
          </a:xfrm>
          <a:prstGeom prst="bentConnector3">
            <a:avLst>
              <a:gd name="adj1" fmla="val -2487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9" name="648 CuadroTexto"/>
          <p:cNvSpPr txBox="1"/>
          <p:nvPr/>
        </p:nvSpPr>
        <p:spPr>
          <a:xfrm>
            <a:off x="7439025" y="1016000"/>
            <a:ext cx="89852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Rusia</a:t>
            </a:r>
          </a:p>
        </p:txBody>
      </p:sp>
      <p:sp>
        <p:nvSpPr>
          <p:cNvPr id="650" name="649 Rectángulo"/>
          <p:cNvSpPr/>
          <p:nvPr/>
        </p:nvSpPr>
        <p:spPr>
          <a:xfrm>
            <a:off x="7672388" y="1285875"/>
            <a:ext cx="506412" cy="50482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sp>
        <p:nvSpPr>
          <p:cNvPr id="651" name="650 CuadroTexto"/>
          <p:cNvSpPr txBox="1"/>
          <p:nvPr/>
        </p:nvSpPr>
        <p:spPr>
          <a:xfrm>
            <a:off x="7726362" y="2636838"/>
            <a:ext cx="141763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1200" b="1" dirty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Corea del </a:t>
            </a:r>
            <a:r>
              <a:rPr lang="es-CO" sz="1200" b="1" dirty="0" smtClean="0">
                <a:solidFill>
                  <a:schemeClr val="accent4">
                    <a:lumMod val="95000"/>
                    <a:lumOff val="5000"/>
                  </a:schemeClr>
                </a:solidFill>
                <a:latin typeface="Agency FB" pitchFamily="34" charset="0"/>
              </a:rPr>
              <a:t>Sur</a:t>
            </a:r>
            <a:endParaRPr lang="es-CO" sz="1200" b="1" dirty="0">
              <a:solidFill>
                <a:schemeClr val="accent4">
                  <a:lumMod val="95000"/>
                  <a:lumOff val="5000"/>
                </a:schemeClr>
              </a:solidFill>
              <a:latin typeface="Agency FB" pitchFamily="34" charset="0"/>
            </a:endParaRPr>
          </a:p>
        </p:txBody>
      </p:sp>
      <p:sp>
        <p:nvSpPr>
          <p:cNvPr id="652" name="651 Rectángulo"/>
          <p:cNvSpPr/>
          <p:nvPr/>
        </p:nvSpPr>
        <p:spPr>
          <a:xfrm>
            <a:off x="8251825" y="2933700"/>
            <a:ext cx="712788" cy="50165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O" b="1" dirty="0">
                <a:solidFill>
                  <a:schemeClr val="bg1"/>
                </a:solidFill>
                <a:latin typeface="Agency FB" pitchFamily="34" charset="0"/>
              </a:rPr>
              <a:t>1,0</a:t>
            </a:r>
          </a:p>
        </p:txBody>
      </p:sp>
      <p:cxnSp>
        <p:nvCxnSpPr>
          <p:cNvPr id="597" name="596 Conector angular"/>
          <p:cNvCxnSpPr>
            <a:stCxn id="650" idx="1"/>
            <a:endCxn id="587" idx="0"/>
          </p:cNvCxnSpPr>
          <p:nvPr/>
        </p:nvCxnSpPr>
        <p:spPr>
          <a:xfrm rot="10800000" flipV="1">
            <a:off x="6060282" y="1538287"/>
            <a:ext cx="1612106" cy="117475"/>
          </a:xfrm>
          <a:prstGeom prst="bentConnector2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612 Conector angular"/>
          <p:cNvCxnSpPr>
            <a:stCxn id="652" idx="1"/>
          </p:cNvCxnSpPr>
          <p:nvPr/>
        </p:nvCxnSpPr>
        <p:spPr>
          <a:xfrm rot="10800000">
            <a:off x="6959605" y="2374905"/>
            <a:ext cx="1292221" cy="80962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469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2473964"/>
              </p:ext>
            </p:extLst>
          </p:nvPr>
        </p:nvGraphicFramePr>
        <p:xfrm>
          <a:off x="467544" y="980723"/>
          <a:ext cx="8229608" cy="551976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05656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  <a:gridCol w="380208"/>
              </a:tblGrid>
              <a:tr h="1080125">
                <a:tc>
                  <a:txBody>
                    <a:bodyPr/>
                    <a:lstStyle/>
                    <a:p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AGA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API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ANSI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ASTM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NIST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PTB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GOST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DIN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DVGW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UNE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INMP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NBR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NOM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AS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NPD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NORSOK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CEN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ISO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800" dirty="0">
                          <a:effectLst/>
                        </a:rPr>
                        <a:t>OIML</a:t>
                      </a:r>
                      <a:endParaRPr lang="es-CO" sz="2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vert="vert27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Canadá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 dirty="0">
                          <a:effectLst/>
                        </a:rPr>
                        <a:t>●</a:t>
                      </a:r>
                      <a:endParaRPr lang="es-CO" sz="10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EEUU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México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Argentin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>
                          <a:effectLst/>
                        </a:rPr>
                        <a:t>Brasil</a:t>
                      </a:r>
                      <a:endParaRPr lang="es-CO" sz="16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Venezuel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Alemani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>
                          <a:effectLst/>
                        </a:rPr>
                        <a:t>España</a:t>
                      </a:r>
                      <a:endParaRPr lang="es-CO" sz="16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Holand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Itali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Norueg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Core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Rusi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Suráfrica 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 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400" dirty="0">
                          <a:effectLst/>
                        </a:rPr>
                        <a:t>Australia</a:t>
                      </a:r>
                      <a:endParaRPr lang="es-CO" sz="16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es-CO" sz="1200">
                          <a:effectLst/>
                        </a:rPr>
                        <a:t>●</a:t>
                      </a:r>
                      <a:endParaRPr lang="es-CO" sz="10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endParaRPr lang="es-CO" sz="1100" dirty="0">
                        <a:effectLst/>
                        <a:latin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3" name="13 CuadroTexto"/>
          <p:cNvSpPr txBox="1">
            <a:spLocks noChangeArrowheads="1"/>
          </p:cNvSpPr>
          <p:nvPr/>
        </p:nvSpPr>
        <p:spPr bwMode="auto">
          <a:xfrm>
            <a:off x="107950" y="364594"/>
            <a:ext cx="896143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s-CO" sz="2000" dirty="0" smtClean="0">
                <a:latin typeface="Arial Rounded MT Bold" pitchFamily="34" charset="0"/>
              </a:rPr>
              <a:t>Principales referencias en normativas técnica y legal.</a:t>
            </a:r>
            <a:endParaRPr lang="es-CO" sz="2000" dirty="0"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163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MX" dirty="0" smtClean="0"/>
              <a:t>EUROP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342834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1943100" cy="194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MX" dirty="0" smtClean="0"/>
              <a:t>Modelo Europeo: </a:t>
            </a:r>
            <a:br>
              <a:rPr lang="es-MX" dirty="0" smtClean="0"/>
            </a:br>
            <a:r>
              <a:rPr lang="es-MX" sz="4000" dirty="0" smtClean="0"/>
              <a:t>Gestor Técnico del Sistema y </a:t>
            </a:r>
            <a:br>
              <a:rPr lang="es-MX" sz="4000" dirty="0" smtClean="0"/>
            </a:br>
            <a:r>
              <a:rPr lang="es-MX" sz="4000" dirty="0" smtClean="0"/>
              <a:t>el «Código de Red»</a:t>
            </a:r>
            <a:endParaRPr lang="es-CO" dirty="0"/>
          </a:p>
        </p:txBody>
      </p:sp>
      <p:sp>
        <p:nvSpPr>
          <p:cNvPr id="4" name="3 Rectángulo"/>
          <p:cNvSpPr/>
          <p:nvPr/>
        </p:nvSpPr>
        <p:spPr>
          <a:xfrm>
            <a:off x="5466524" y="2188444"/>
            <a:ext cx="2273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/>
              <a:t>Directiva 2003/55/CE </a:t>
            </a:r>
            <a:endParaRPr lang="es-CO" dirty="0"/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2469228641"/>
              </p:ext>
            </p:extLst>
          </p:nvPr>
        </p:nvGraphicFramePr>
        <p:xfrm>
          <a:off x="-19325" y="1885280"/>
          <a:ext cx="408726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4540077" y="3717032"/>
            <a:ext cx="1544091" cy="1132084"/>
            <a:chOff x="2082942" y="2194129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Gestor Técnico del Sistema: </a:t>
              </a:r>
              <a:r>
                <a:rPr lang="es-MX" sz="1700" kern="1200" dirty="0" smtClean="0"/>
                <a:t>Empresa transportadora</a:t>
              </a:r>
              <a:endParaRPr lang="es-CO" sz="1700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3232785" y="5157191"/>
            <a:ext cx="1544091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Elabora el Código de Red</a:t>
              </a:r>
              <a:endParaRPr lang="es-CO" sz="1700" kern="1200" dirty="0"/>
            </a:p>
          </p:txBody>
        </p:sp>
      </p:grpSp>
      <p:cxnSp>
        <p:nvCxnSpPr>
          <p:cNvPr id="15" name="14 Conector angular"/>
          <p:cNvCxnSpPr>
            <a:stCxn id="11" idx="2"/>
            <a:endCxn id="14" idx="3"/>
          </p:cNvCxnSpPr>
          <p:nvPr/>
        </p:nvCxnSpPr>
        <p:spPr>
          <a:xfrm rot="5400000">
            <a:off x="4697451" y="4928542"/>
            <a:ext cx="694098" cy="535247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18 CuadroTexto"/>
          <p:cNvSpPr txBox="1"/>
          <p:nvPr/>
        </p:nvSpPr>
        <p:spPr>
          <a:xfrm>
            <a:off x="6156176" y="3821409"/>
            <a:ext cx="28083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El </a:t>
            </a:r>
            <a:r>
              <a:rPr lang="es-MX" i="1" dirty="0" smtClean="0"/>
              <a:t>gestor técnico del sistema </a:t>
            </a:r>
            <a:r>
              <a:rPr lang="es-MX" dirty="0" smtClean="0"/>
              <a:t>es encargado de desarrollar, operar y mantener la red </a:t>
            </a:r>
            <a:endParaRPr lang="es-CO" dirty="0"/>
          </a:p>
        </p:txBody>
      </p:sp>
      <p:grpSp>
        <p:nvGrpSpPr>
          <p:cNvPr id="21" name="20 Grupo"/>
          <p:cNvGrpSpPr/>
          <p:nvPr/>
        </p:nvGrpSpPr>
        <p:grpSpPr>
          <a:xfrm>
            <a:off x="5878372" y="5157192"/>
            <a:ext cx="1544091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Se apoya en Estándares Técnicos </a:t>
              </a:r>
              <a:endParaRPr lang="es-CO" sz="1700" kern="1200" dirty="0"/>
            </a:p>
          </p:txBody>
        </p:sp>
      </p:grpSp>
      <p:cxnSp>
        <p:nvCxnSpPr>
          <p:cNvPr id="24" name="23 Conector angular"/>
          <p:cNvCxnSpPr>
            <a:stCxn id="11" idx="2"/>
            <a:endCxn id="23" idx="1"/>
          </p:cNvCxnSpPr>
          <p:nvPr/>
        </p:nvCxnSpPr>
        <p:spPr>
          <a:xfrm rot="16200000" flipH="1">
            <a:off x="5248198" y="4913040"/>
            <a:ext cx="694099" cy="566249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207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s-MX" dirty="0" smtClean="0"/>
              <a:t>España</a:t>
            </a:r>
            <a:endParaRPr lang="es-CO" dirty="0"/>
          </a:p>
        </p:txBody>
      </p:sp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995070382"/>
              </p:ext>
            </p:extLst>
          </p:nvPr>
        </p:nvGraphicFramePr>
        <p:xfrm>
          <a:off x="-19325" y="1885280"/>
          <a:ext cx="4087269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9" name="8 Grupo"/>
          <p:cNvGrpSpPr/>
          <p:nvPr/>
        </p:nvGrpSpPr>
        <p:grpSpPr>
          <a:xfrm>
            <a:off x="4540077" y="3717032"/>
            <a:ext cx="1544091" cy="1132084"/>
            <a:chOff x="2082942" y="2194129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0" name="9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2082942" y="2194129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b="1" kern="1200" dirty="0" smtClean="0"/>
                <a:t>Gestor Técnico del Sistema: </a:t>
              </a:r>
              <a:r>
                <a:rPr lang="es-MX" sz="1700" kern="1200" dirty="0" smtClean="0"/>
                <a:t>ENAGAS</a:t>
              </a:r>
              <a:endParaRPr lang="es-CO" sz="1700" kern="1200" dirty="0"/>
            </a:p>
          </p:txBody>
        </p:sp>
      </p:grpSp>
      <p:grpSp>
        <p:nvGrpSpPr>
          <p:cNvPr id="12" name="11 Grupo"/>
          <p:cNvGrpSpPr/>
          <p:nvPr/>
        </p:nvGrpSpPr>
        <p:grpSpPr>
          <a:xfrm>
            <a:off x="3232785" y="5157191"/>
            <a:ext cx="1544091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13" name="1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/>
              <a:r>
                <a:rPr lang="es-MX" sz="1600" kern="1200" dirty="0" smtClean="0"/>
                <a:t>Elabora </a:t>
              </a:r>
              <a:r>
                <a:rPr lang="es-MX" sz="1400" dirty="0" smtClean="0"/>
                <a:t>las </a:t>
              </a:r>
              <a:r>
                <a:rPr lang="es-MX" sz="1400" b="1" dirty="0" smtClean="0"/>
                <a:t>Normas Técnicas de Gestión del Sistema NTGS</a:t>
              </a:r>
              <a:endParaRPr lang="es-CO" sz="1400" b="1" dirty="0"/>
            </a:p>
          </p:txBody>
        </p:sp>
      </p:grpSp>
      <p:cxnSp>
        <p:nvCxnSpPr>
          <p:cNvPr id="15" name="14 Conector angular"/>
          <p:cNvCxnSpPr>
            <a:stCxn id="11" idx="2"/>
            <a:endCxn id="14" idx="3"/>
          </p:cNvCxnSpPr>
          <p:nvPr/>
        </p:nvCxnSpPr>
        <p:spPr>
          <a:xfrm rot="5400000">
            <a:off x="4697451" y="4928542"/>
            <a:ext cx="694098" cy="535247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1" name="20 Grupo"/>
          <p:cNvGrpSpPr/>
          <p:nvPr/>
        </p:nvGrpSpPr>
        <p:grpSpPr>
          <a:xfrm>
            <a:off x="5878372" y="5157192"/>
            <a:ext cx="2438044" cy="772045"/>
            <a:chOff x="2468965" y="3290434"/>
            <a:chExt cx="1544091" cy="772045"/>
          </a:xfrm>
          <a:scene3d>
            <a:camera prst="orthographicFront"/>
            <a:lightRig rig="flat" dir="t"/>
          </a:scene3d>
        </p:grpSpPr>
        <p:sp>
          <p:nvSpPr>
            <p:cNvPr id="22" name="21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23" name="22 Rectángulo"/>
            <p:cNvSpPr/>
            <p:nvPr/>
          </p:nvSpPr>
          <p:spPr>
            <a:xfrm>
              <a:off x="2468965" y="3290434"/>
              <a:ext cx="1544091" cy="77204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10795" tIns="10795" rIns="10795" bIns="10795" numCol="1" spcCol="1270" anchor="ctr" anchorCtr="0">
              <a:noAutofit/>
            </a:bodyPr>
            <a:lstStyle/>
            <a:p>
              <a:pPr lvl="0"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1700" kern="1200" dirty="0" smtClean="0"/>
                <a:t>Se apoya en Estándares Técnicos:</a:t>
              </a:r>
              <a:r>
                <a:rPr lang="es-MX" sz="1700" b="1" kern="1200" dirty="0" smtClean="0"/>
                <a:t> ISO, UNE, </a:t>
              </a:r>
              <a:r>
                <a:rPr lang="es-MX" sz="1700" kern="1200" dirty="0" smtClean="0"/>
                <a:t> </a:t>
              </a:r>
              <a:endParaRPr lang="es-CO" sz="1700" kern="1200" dirty="0"/>
            </a:p>
          </p:txBody>
        </p:sp>
      </p:grpSp>
      <p:cxnSp>
        <p:nvCxnSpPr>
          <p:cNvPr id="24" name="23 Conector angular"/>
          <p:cNvCxnSpPr>
            <a:stCxn id="11" idx="2"/>
            <a:endCxn id="23" idx="1"/>
          </p:cNvCxnSpPr>
          <p:nvPr/>
        </p:nvCxnSpPr>
        <p:spPr>
          <a:xfrm rot="16200000" flipH="1">
            <a:off x="5248198" y="4913040"/>
            <a:ext cx="694099" cy="566249"/>
          </a:xfrm>
          <a:prstGeom prst="bentConnector2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17 Rectángulo"/>
          <p:cNvSpPr/>
          <p:nvPr/>
        </p:nvSpPr>
        <p:spPr>
          <a:xfrm>
            <a:off x="2843808" y="3172326"/>
            <a:ext cx="1412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b="1" dirty="0"/>
              <a:t>Ley </a:t>
            </a:r>
            <a:r>
              <a:rPr lang="es-CO" b="1" dirty="0" smtClean="0"/>
              <a:t>12/2007</a:t>
            </a:r>
            <a:endParaRPr lang="es-CO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66428" y="3356992"/>
            <a:ext cx="2052194" cy="1590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2" y="10410"/>
            <a:ext cx="1767840" cy="165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7973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España</a:t>
            </a:r>
            <a:endParaRPr lang="es-CO" dirty="0"/>
          </a:p>
        </p:txBody>
      </p:sp>
      <p:graphicFrame>
        <p:nvGraphicFramePr>
          <p:cNvPr id="4" name="3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8650546"/>
              </p:ext>
            </p:extLst>
          </p:nvPr>
        </p:nvGraphicFramePr>
        <p:xfrm>
          <a:off x="467544" y="2636912"/>
          <a:ext cx="8229600" cy="266192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4114800"/>
                <a:gridCol w="4114800"/>
              </a:tblGrid>
              <a:tr h="370840">
                <a:tc>
                  <a:txBody>
                    <a:bodyPr/>
                    <a:lstStyle/>
                    <a:p>
                      <a:r>
                        <a:rPr lang="es-MX" baseline="0" dirty="0" smtClean="0"/>
                        <a:t>Gestor Técnico del Sistem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ENAGAS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Marco</a:t>
                      </a:r>
                      <a:r>
                        <a:rPr lang="es-MX" baseline="0" dirty="0" smtClean="0"/>
                        <a:t> Regulatorio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Normas Técnicas de</a:t>
                      </a:r>
                      <a:r>
                        <a:rPr lang="es-MX" baseline="0" dirty="0" smtClean="0"/>
                        <a:t> Gestión del Sistema NTGS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Sistema</a:t>
                      </a:r>
                      <a:r>
                        <a:rPr lang="es-MX" baseline="0" dirty="0" smtClean="0"/>
                        <a:t> de Unidades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Sistema Internacional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Condiciones Estándar</a:t>
                      </a:r>
                      <a:r>
                        <a:rPr lang="es-MX" baseline="0" dirty="0" smtClean="0"/>
                        <a:t> </a:t>
                      </a:r>
                      <a:r>
                        <a:rPr lang="es-MX" dirty="0" smtClean="0"/>
                        <a:t>de Referencia:</a:t>
                      </a:r>
                      <a:r>
                        <a:rPr lang="es-MX" baseline="0" dirty="0" smtClean="0"/>
                        <a:t> 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P=101325Pa</a:t>
                      </a:r>
                      <a:r>
                        <a:rPr lang="es-MX" baseline="0" dirty="0" smtClean="0"/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baseline="0" dirty="0" smtClean="0"/>
                        <a:t>T=0°C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Normas</a:t>
                      </a:r>
                      <a:r>
                        <a:rPr lang="es-MX" baseline="0" dirty="0" smtClean="0"/>
                        <a:t> técnicas de referencia</a:t>
                      </a:r>
                      <a:endParaRPr lang="es-CO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ISO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s-MX" dirty="0" smtClean="0"/>
                        <a:t>UNE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12" y="10410"/>
            <a:ext cx="1767840" cy="165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5891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84</TotalTime>
  <Words>1419</Words>
  <Application>Microsoft Office PowerPoint</Application>
  <PresentationFormat>Presentación en pantalla (4:3)</PresentationFormat>
  <Paragraphs>485</Paragraphs>
  <Slides>35</Slides>
  <Notes>6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35</vt:i4>
      </vt:variant>
    </vt:vector>
  </HeadingPairs>
  <TitlesOfParts>
    <vt:vector size="36" baseType="lpstr">
      <vt:lpstr>Tema de Office</vt:lpstr>
      <vt:lpstr>Regulación técnica en Medición en transporte de gas natural por gasoductos</vt:lpstr>
      <vt:lpstr>Presentación de PowerPoint</vt:lpstr>
      <vt:lpstr>Presentación de PowerPoint</vt:lpstr>
      <vt:lpstr>Presentación de PowerPoint</vt:lpstr>
      <vt:lpstr>Presentación de PowerPoint</vt:lpstr>
      <vt:lpstr>EUROPA</vt:lpstr>
      <vt:lpstr>Modelo Europeo:  Gestor Técnico del Sistema y  el «Código de Red»</vt:lpstr>
      <vt:lpstr>España</vt:lpstr>
      <vt:lpstr>España</vt:lpstr>
      <vt:lpstr>Italia</vt:lpstr>
      <vt:lpstr>CASO: Italia</vt:lpstr>
      <vt:lpstr>Holanda (Países Bajos)</vt:lpstr>
      <vt:lpstr>CASO: Holanda</vt:lpstr>
      <vt:lpstr>CASO: Noruega</vt:lpstr>
      <vt:lpstr>CASO: Noruega</vt:lpstr>
      <vt:lpstr>SUR AMERICA</vt:lpstr>
      <vt:lpstr>Argentina </vt:lpstr>
      <vt:lpstr>Argentina</vt:lpstr>
      <vt:lpstr>Brasil</vt:lpstr>
      <vt:lpstr>Brasil</vt:lpstr>
      <vt:lpstr>Venezuela</vt:lpstr>
      <vt:lpstr>Venezuela</vt:lpstr>
      <vt:lpstr>NORTE AMERICA</vt:lpstr>
      <vt:lpstr>Estados Unidos</vt:lpstr>
      <vt:lpstr>Canadá</vt:lpstr>
      <vt:lpstr>México</vt:lpstr>
      <vt:lpstr>México </vt:lpstr>
      <vt:lpstr>OCEANIA</vt:lpstr>
      <vt:lpstr>Australia</vt:lpstr>
      <vt:lpstr>AFRICA</vt:lpstr>
      <vt:lpstr>Suráfrica </vt:lpstr>
      <vt:lpstr>Suráfrica </vt:lpstr>
      <vt:lpstr>ASIA</vt:lpstr>
      <vt:lpstr>Rusia</vt:lpstr>
      <vt:lpstr>Rusia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gulación técnica en Medición en transporte de gas natural por</dc:title>
  <dc:creator>Usuario</dc:creator>
  <cp:lastModifiedBy>Luz Stella</cp:lastModifiedBy>
  <cp:revision>63</cp:revision>
  <dcterms:created xsi:type="dcterms:W3CDTF">2012-10-29T03:31:36Z</dcterms:created>
  <dcterms:modified xsi:type="dcterms:W3CDTF">2012-12-17T16:00:28Z</dcterms:modified>
</cp:coreProperties>
</file>